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6" r:id="rId2"/>
    <p:sldId id="269" r:id="rId3"/>
    <p:sldId id="258" r:id="rId4"/>
    <p:sldId id="270" r:id="rId5"/>
    <p:sldId id="261" r:id="rId6"/>
    <p:sldId id="271" r:id="rId7"/>
  </p:sldIdLst>
  <p:sldSz cx="12192000" cy="6858000"/>
  <p:notesSz cx="6858000" cy="9144000"/>
  <p:custDataLst>
    <p:tags r:id="rId1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31C1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70" autoAdjust="0"/>
    <p:restoredTop sz="96182" autoAdjust="0"/>
  </p:normalViewPr>
  <p:slideViewPr>
    <p:cSldViewPr snapToGrid="0">
      <p:cViewPr varScale="1">
        <p:scale>
          <a:sx n="97" d="100"/>
          <a:sy n="97" d="100"/>
        </p:scale>
        <p:origin x="84" y="17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10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10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s1iḑe">
            <a:extLst>
              <a:ext uri="{FF2B5EF4-FFF2-40B4-BE49-F238E27FC236}">
                <a16:creationId xmlns:a16="http://schemas.microsoft.com/office/drawing/2014/main" id="{65C49076-5C98-4A2A-B5FF-AB67EE5EC9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43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DBA2BF81-6779-45C0-B326-290EA20A1087}"/>
              </a:ext>
            </a:extLst>
          </p:cNvPr>
          <p:cNvGrpSpPr/>
          <p:nvPr userDrawn="1"/>
        </p:nvGrpSpPr>
        <p:grpSpPr>
          <a:xfrm>
            <a:off x="0" y="-1"/>
            <a:ext cx="12192000" cy="6858003"/>
            <a:chOff x="0" y="-1"/>
            <a:chExt cx="12192000" cy="6858003"/>
          </a:xfrm>
        </p:grpSpPr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5276AD4A-44DB-4249-9CD5-E814CAA78B81}"/>
                </a:ext>
              </a:extLst>
            </p:cNvPr>
            <p:cNvGrpSpPr/>
            <p:nvPr/>
          </p:nvGrpSpPr>
          <p:grpSpPr>
            <a:xfrm>
              <a:off x="0" y="736601"/>
              <a:ext cx="12192000" cy="5384799"/>
              <a:chOff x="0" y="622300"/>
              <a:chExt cx="12192000" cy="5384799"/>
            </a:xfrm>
          </p:grpSpPr>
          <p:cxnSp>
            <p:nvCxnSpPr>
              <p:cNvPr id="28" name="直接连接符 27">
                <a:extLst>
                  <a:ext uri="{FF2B5EF4-FFF2-40B4-BE49-F238E27FC236}">
                    <a16:creationId xmlns:a16="http://schemas.microsoft.com/office/drawing/2014/main" id="{FAF3CFB3-55D3-4AA4-93EC-656C0F7287F0}"/>
                  </a:ext>
                </a:extLst>
              </p:cNvPr>
              <p:cNvCxnSpPr/>
              <p:nvPr/>
            </p:nvCxnSpPr>
            <p:spPr>
              <a:xfrm>
                <a:off x="0" y="622300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>
                <a:extLst>
                  <a:ext uri="{FF2B5EF4-FFF2-40B4-BE49-F238E27FC236}">
                    <a16:creationId xmlns:a16="http://schemas.microsoft.com/office/drawing/2014/main" id="{E74583B5-A3B3-4067-BF9A-25F7196E6585}"/>
                  </a:ext>
                </a:extLst>
              </p:cNvPr>
              <p:cNvCxnSpPr/>
              <p:nvPr/>
            </p:nvCxnSpPr>
            <p:spPr>
              <a:xfrm>
                <a:off x="0" y="1391557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>
                <a:extLst>
                  <a:ext uri="{FF2B5EF4-FFF2-40B4-BE49-F238E27FC236}">
                    <a16:creationId xmlns:a16="http://schemas.microsoft.com/office/drawing/2014/main" id="{1B2B70D6-397C-4594-8B09-9E9EFF7CBBA1}"/>
                  </a:ext>
                </a:extLst>
              </p:cNvPr>
              <p:cNvCxnSpPr/>
              <p:nvPr/>
            </p:nvCxnSpPr>
            <p:spPr>
              <a:xfrm>
                <a:off x="0" y="2160814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>
                <a:extLst>
                  <a:ext uri="{FF2B5EF4-FFF2-40B4-BE49-F238E27FC236}">
                    <a16:creationId xmlns:a16="http://schemas.microsoft.com/office/drawing/2014/main" id="{E77B779C-749C-41FB-AFFC-4A8FAC105B84}"/>
                  </a:ext>
                </a:extLst>
              </p:cNvPr>
              <p:cNvCxnSpPr/>
              <p:nvPr/>
            </p:nvCxnSpPr>
            <p:spPr>
              <a:xfrm>
                <a:off x="0" y="2930071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>
                <a:extLst>
                  <a:ext uri="{FF2B5EF4-FFF2-40B4-BE49-F238E27FC236}">
                    <a16:creationId xmlns:a16="http://schemas.microsoft.com/office/drawing/2014/main" id="{C14D3397-1529-4F20-86C7-F6066A5F4B0B}"/>
                  </a:ext>
                </a:extLst>
              </p:cNvPr>
              <p:cNvCxnSpPr/>
              <p:nvPr/>
            </p:nvCxnSpPr>
            <p:spPr>
              <a:xfrm>
                <a:off x="0" y="3699328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>
                <a:extLst>
                  <a:ext uri="{FF2B5EF4-FFF2-40B4-BE49-F238E27FC236}">
                    <a16:creationId xmlns:a16="http://schemas.microsoft.com/office/drawing/2014/main" id="{A32B39A7-3861-4A5D-8C72-B2BDEA30B30B}"/>
                  </a:ext>
                </a:extLst>
              </p:cNvPr>
              <p:cNvCxnSpPr/>
              <p:nvPr/>
            </p:nvCxnSpPr>
            <p:spPr>
              <a:xfrm>
                <a:off x="0" y="4468585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接连接符 33">
                <a:extLst>
                  <a:ext uri="{FF2B5EF4-FFF2-40B4-BE49-F238E27FC236}">
                    <a16:creationId xmlns:a16="http://schemas.microsoft.com/office/drawing/2014/main" id="{8C8E0C04-9979-4B1B-88FE-85D392465F1E}"/>
                  </a:ext>
                </a:extLst>
              </p:cNvPr>
              <p:cNvCxnSpPr/>
              <p:nvPr/>
            </p:nvCxnSpPr>
            <p:spPr>
              <a:xfrm>
                <a:off x="0" y="5237842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>
                <a:extLst>
                  <a:ext uri="{FF2B5EF4-FFF2-40B4-BE49-F238E27FC236}">
                    <a16:creationId xmlns:a16="http://schemas.microsoft.com/office/drawing/2014/main" id="{D81613B3-4C96-48E7-81EB-FD0C744262D0}"/>
                  </a:ext>
                </a:extLst>
              </p:cNvPr>
              <p:cNvCxnSpPr/>
              <p:nvPr/>
            </p:nvCxnSpPr>
            <p:spPr>
              <a:xfrm>
                <a:off x="0" y="6007099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DDC448A4-0638-4E91-90C4-FDF56D39EB2C}"/>
                </a:ext>
              </a:extLst>
            </p:cNvPr>
            <p:cNvGrpSpPr/>
            <p:nvPr/>
          </p:nvGrpSpPr>
          <p:grpSpPr>
            <a:xfrm rot="5400000">
              <a:off x="509969" y="351972"/>
              <a:ext cx="6858001" cy="6154056"/>
              <a:chOff x="0" y="622300"/>
              <a:chExt cx="12192000" cy="6154056"/>
            </a:xfrm>
          </p:grpSpPr>
          <p:cxnSp>
            <p:nvCxnSpPr>
              <p:cNvPr id="19" name="直接连接符 18">
                <a:extLst>
                  <a:ext uri="{FF2B5EF4-FFF2-40B4-BE49-F238E27FC236}">
                    <a16:creationId xmlns:a16="http://schemas.microsoft.com/office/drawing/2014/main" id="{B236B93F-CF05-411D-A20F-F69DD472800F}"/>
                  </a:ext>
                </a:extLst>
              </p:cNvPr>
              <p:cNvCxnSpPr/>
              <p:nvPr/>
            </p:nvCxnSpPr>
            <p:spPr>
              <a:xfrm>
                <a:off x="0" y="622300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>
                <a:extLst>
                  <a:ext uri="{FF2B5EF4-FFF2-40B4-BE49-F238E27FC236}">
                    <a16:creationId xmlns:a16="http://schemas.microsoft.com/office/drawing/2014/main" id="{5F934E33-5580-409C-A013-770C4DA4B884}"/>
                  </a:ext>
                </a:extLst>
              </p:cNvPr>
              <p:cNvCxnSpPr/>
              <p:nvPr/>
            </p:nvCxnSpPr>
            <p:spPr>
              <a:xfrm>
                <a:off x="0" y="1391557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>
                <a:extLst>
                  <a:ext uri="{FF2B5EF4-FFF2-40B4-BE49-F238E27FC236}">
                    <a16:creationId xmlns:a16="http://schemas.microsoft.com/office/drawing/2014/main" id="{C79FDB4A-6EC8-4317-9E8E-70801F006DF2}"/>
                  </a:ext>
                </a:extLst>
              </p:cNvPr>
              <p:cNvCxnSpPr/>
              <p:nvPr/>
            </p:nvCxnSpPr>
            <p:spPr>
              <a:xfrm>
                <a:off x="0" y="2160814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>
                <a:extLst>
                  <a:ext uri="{FF2B5EF4-FFF2-40B4-BE49-F238E27FC236}">
                    <a16:creationId xmlns:a16="http://schemas.microsoft.com/office/drawing/2014/main" id="{390D70DD-2D54-42F8-9320-F9384A7CDC72}"/>
                  </a:ext>
                </a:extLst>
              </p:cNvPr>
              <p:cNvCxnSpPr/>
              <p:nvPr/>
            </p:nvCxnSpPr>
            <p:spPr>
              <a:xfrm>
                <a:off x="0" y="2930071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>
                <a:extLst>
                  <a:ext uri="{FF2B5EF4-FFF2-40B4-BE49-F238E27FC236}">
                    <a16:creationId xmlns:a16="http://schemas.microsoft.com/office/drawing/2014/main" id="{79D0874A-4CF9-473C-9D05-5BDEC4985431}"/>
                  </a:ext>
                </a:extLst>
              </p:cNvPr>
              <p:cNvCxnSpPr/>
              <p:nvPr/>
            </p:nvCxnSpPr>
            <p:spPr>
              <a:xfrm>
                <a:off x="0" y="3699328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>
                <a:extLst>
                  <a:ext uri="{FF2B5EF4-FFF2-40B4-BE49-F238E27FC236}">
                    <a16:creationId xmlns:a16="http://schemas.microsoft.com/office/drawing/2014/main" id="{C73241C3-DC7F-491D-8183-0D85D8B8376D}"/>
                  </a:ext>
                </a:extLst>
              </p:cNvPr>
              <p:cNvCxnSpPr/>
              <p:nvPr/>
            </p:nvCxnSpPr>
            <p:spPr>
              <a:xfrm>
                <a:off x="0" y="4468585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>
                <a:extLst>
                  <a:ext uri="{FF2B5EF4-FFF2-40B4-BE49-F238E27FC236}">
                    <a16:creationId xmlns:a16="http://schemas.microsoft.com/office/drawing/2014/main" id="{3A3D279F-4944-4DED-A215-D173F5906022}"/>
                  </a:ext>
                </a:extLst>
              </p:cNvPr>
              <p:cNvCxnSpPr/>
              <p:nvPr/>
            </p:nvCxnSpPr>
            <p:spPr>
              <a:xfrm>
                <a:off x="0" y="5237842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>
                <a:extLst>
                  <a:ext uri="{FF2B5EF4-FFF2-40B4-BE49-F238E27FC236}">
                    <a16:creationId xmlns:a16="http://schemas.microsoft.com/office/drawing/2014/main" id="{DABB0CEE-C961-475F-AD3F-4BB707534350}"/>
                  </a:ext>
                </a:extLst>
              </p:cNvPr>
              <p:cNvCxnSpPr/>
              <p:nvPr/>
            </p:nvCxnSpPr>
            <p:spPr>
              <a:xfrm>
                <a:off x="0" y="6007099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>
                <a:extLst>
                  <a:ext uri="{FF2B5EF4-FFF2-40B4-BE49-F238E27FC236}">
                    <a16:creationId xmlns:a16="http://schemas.microsoft.com/office/drawing/2014/main" id="{A2EF6489-080E-4C21-ABB1-03009FA93749}"/>
                  </a:ext>
                </a:extLst>
              </p:cNvPr>
              <p:cNvCxnSpPr/>
              <p:nvPr/>
            </p:nvCxnSpPr>
            <p:spPr>
              <a:xfrm>
                <a:off x="0" y="6776356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74A984DD-C8A2-400D-AEDC-9DF326DBC157}"/>
                </a:ext>
              </a:extLst>
            </p:cNvPr>
            <p:cNvGrpSpPr/>
            <p:nvPr/>
          </p:nvGrpSpPr>
          <p:grpSpPr>
            <a:xfrm rot="5400000">
              <a:off x="6349903" y="1505859"/>
              <a:ext cx="6858001" cy="3846285"/>
              <a:chOff x="0" y="2930071"/>
              <a:chExt cx="12192000" cy="3846285"/>
            </a:xfrm>
          </p:grpSpPr>
          <p:cxnSp>
            <p:nvCxnSpPr>
              <p:cNvPr id="11" name="直接连接符 10">
                <a:extLst>
                  <a:ext uri="{FF2B5EF4-FFF2-40B4-BE49-F238E27FC236}">
                    <a16:creationId xmlns:a16="http://schemas.microsoft.com/office/drawing/2014/main" id="{554B2BD4-2ACA-49EB-9776-9425ED88ABDC}"/>
                  </a:ext>
                </a:extLst>
              </p:cNvPr>
              <p:cNvCxnSpPr/>
              <p:nvPr/>
            </p:nvCxnSpPr>
            <p:spPr>
              <a:xfrm>
                <a:off x="0" y="2930071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>
                <a:extLst>
                  <a:ext uri="{FF2B5EF4-FFF2-40B4-BE49-F238E27FC236}">
                    <a16:creationId xmlns:a16="http://schemas.microsoft.com/office/drawing/2014/main" id="{929F931C-CE2F-44BF-8670-FEEA05D4F6C3}"/>
                  </a:ext>
                </a:extLst>
              </p:cNvPr>
              <p:cNvCxnSpPr/>
              <p:nvPr/>
            </p:nvCxnSpPr>
            <p:spPr>
              <a:xfrm>
                <a:off x="0" y="3699328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>
                <a:extLst>
                  <a:ext uri="{FF2B5EF4-FFF2-40B4-BE49-F238E27FC236}">
                    <a16:creationId xmlns:a16="http://schemas.microsoft.com/office/drawing/2014/main" id="{97A4BCF8-A775-4040-9DC4-4AA548A4E5E8}"/>
                  </a:ext>
                </a:extLst>
              </p:cNvPr>
              <p:cNvCxnSpPr/>
              <p:nvPr/>
            </p:nvCxnSpPr>
            <p:spPr>
              <a:xfrm>
                <a:off x="0" y="4468585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>
                <a:extLst>
                  <a:ext uri="{FF2B5EF4-FFF2-40B4-BE49-F238E27FC236}">
                    <a16:creationId xmlns:a16="http://schemas.microsoft.com/office/drawing/2014/main" id="{E1D024F4-6E61-4742-B674-F9B65A0597A4}"/>
                  </a:ext>
                </a:extLst>
              </p:cNvPr>
              <p:cNvCxnSpPr/>
              <p:nvPr/>
            </p:nvCxnSpPr>
            <p:spPr>
              <a:xfrm>
                <a:off x="0" y="5237842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>
                <a:extLst>
                  <a:ext uri="{FF2B5EF4-FFF2-40B4-BE49-F238E27FC236}">
                    <a16:creationId xmlns:a16="http://schemas.microsoft.com/office/drawing/2014/main" id="{1F5DEDE6-BDED-478D-9EEA-12412C517376}"/>
                  </a:ext>
                </a:extLst>
              </p:cNvPr>
              <p:cNvCxnSpPr/>
              <p:nvPr/>
            </p:nvCxnSpPr>
            <p:spPr>
              <a:xfrm>
                <a:off x="0" y="6007099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>
                <a:extLst>
                  <a:ext uri="{FF2B5EF4-FFF2-40B4-BE49-F238E27FC236}">
                    <a16:creationId xmlns:a16="http://schemas.microsoft.com/office/drawing/2014/main" id="{12BA9F9F-06D6-44FA-A8A1-11AF1415084E}"/>
                  </a:ext>
                </a:extLst>
              </p:cNvPr>
              <p:cNvCxnSpPr/>
              <p:nvPr/>
            </p:nvCxnSpPr>
            <p:spPr>
              <a:xfrm>
                <a:off x="0" y="6776356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6" name="ïšľîḋè">
            <a:extLst>
              <a:ext uri="{FF2B5EF4-FFF2-40B4-BE49-F238E27FC236}">
                <a16:creationId xmlns:a16="http://schemas.microsoft.com/office/drawing/2014/main" id="{E1B8344A-CE5B-4F43-904C-05F1010E74DB}"/>
              </a:ext>
            </a:extLst>
          </p:cNvPr>
          <p:cNvSpPr/>
          <p:nvPr userDrawn="1"/>
        </p:nvSpPr>
        <p:spPr>
          <a:xfrm>
            <a:off x="990600" y="1168400"/>
            <a:ext cx="9553456" cy="4174476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ïşḷíḋê">
            <a:extLst>
              <a:ext uri="{FF2B5EF4-FFF2-40B4-BE49-F238E27FC236}">
                <a16:creationId xmlns:a16="http://schemas.microsoft.com/office/drawing/2014/main" id="{37ADFD63-6341-41FE-80D7-51E25C810EE8}"/>
              </a:ext>
            </a:extLst>
          </p:cNvPr>
          <p:cNvSpPr/>
          <p:nvPr userDrawn="1"/>
        </p:nvSpPr>
        <p:spPr>
          <a:xfrm>
            <a:off x="3528388" y="5034373"/>
            <a:ext cx="4575333" cy="616925"/>
          </a:xfrm>
          <a:prstGeom prst="rect">
            <a:avLst/>
          </a:prstGeom>
          <a:solidFill>
            <a:srgbClr val="FFC000"/>
          </a:solidFill>
          <a:ln w="571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6710F8C4-858D-49BC-9609-4967CEEC1D8C}"/>
              </a:ext>
            </a:extLst>
          </p:cNvPr>
          <p:cNvGrpSpPr/>
          <p:nvPr userDrawn="1"/>
        </p:nvGrpSpPr>
        <p:grpSpPr>
          <a:xfrm>
            <a:off x="6058359" y="2133008"/>
            <a:ext cx="5536528" cy="3784679"/>
            <a:chOff x="5800316" y="2069508"/>
            <a:chExt cx="5536528" cy="3784679"/>
          </a:xfrm>
        </p:grpSpPr>
        <p:sp>
          <p:nvSpPr>
            <p:cNvPr id="39" name="i$ľîdé">
              <a:extLst>
                <a:ext uri="{FF2B5EF4-FFF2-40B4-BE49-F238E27FC236}">
                  <a16:creationId xmlns:a16="http://schemas.microsoft.com/office/drawing/2014/main" id="{D7A9C360-1C47-4D68-9D90-08D496165D92}"/>
                </a:ext>
              </a:extLst>
            </p:cNvPr>
            <p:cNvSpPr/>
            <p:nvPr/>
          </p:nvSpPr>
          <p:spPr bwMode="auto">
            <a:xfrm>
              <a:off x="7557898" y="2069508"/>
              <a:ext cx="2620604" cy="1727477"/>
            </a:xfrm>
            <a:prstGeom prst="rect">
              <a:avLst/>
            </a:prstGeom>
            <a:solidFill>
              <a:srgbClr val="5D66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ṥļíďê">
              <a:extLst>
                <a:ext uri="{FF2B5EF4-FFF2-40B4-BE49-F238E27FC236}">
                  <a16:creationId xmlns:a16="http://schemas.microsoft.com/office/drawing/2014/main" id="{CE844328-0EBC-483A-8ECE-0BF06F83BC50}"/>
                </a:ext>
              </a:extLst>
            </p:cNvPr>
            <p:cNvSpPr/>
            <p:nvPr/>
          </p:nvSpPr>
          <p:spPr bwMode="auto">
            <a:xfrm>
              <a:off x="7494820" y="3778348"/>
              <a:ext cx="2746760" cy="114687"/>
            </a:xfrm>
            <a:prstGeom prst="rect">
              <a:avLst/>
            </a:prstGeom>
            <a:solidFill>
              <a:srgbClr val="3B33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šlíďê">
              <a:extLst>
                <a:ext uri="{FF2B5EF4-FFF2-40B4-BE49-F238E27FC236}">
                  <a16:creationId xmlns:a16="http://schemas.microsoft.com/office/drawing/2014/main" id="{23EEF198-9CB3-4234-A3F2-AA05EC4FA02B}"/>
                </a:ext>
              </a:extLst>
            </p:cNvPr>
            <p:cNvSpPr/>
            <p:nvPr/>
          </p:nvSpPr>
          <p:spPr bwMode="auto">
            <a:xfrm>
              <a:off x="7696957" y="5306556"/>
              <a:ext cx="113254" cy="127590"/>
            </a:xfrm>
            <a:custGeom>
              <a:avLst/>
              <a:gdLst>
                <a:gd name="T0" fmla="*/ 3 w 79"/>
                <a:gd name="T1" fmla="*/ 27 h 89"/>
                <a:gd name="T2" fmla="*/ 0 w 79"/>
                <a:gd name="T3" fmla="*/ 55 h 89"/>
                <a:gd name="T4" fmla="*/ 50 w 79"/>
                <a:gd name="T5" fmla="*/ 89 h 89"/>
                <a:gd name="T6" fmla="*/ 79 w 79"/>
                <a:gd name="T7" fmla="*/ 65 h 89"/>
                <a:gd name="T8" fmla="*/ 55 w 79"/>
                <a:gd name="T9" fmla="*/ 35 h 89"/>
                <a:gd name="T10" fmla="*/ 5 w 79"/>
                <a:gd name="T11" fmla="*/ 0 h 89"/>
                <a:gd name="T12" fmla="*/ 3 w 79"/>
                <a:gd name="T13" fmla="*/ 2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89">
                  <a:moveTo>
                    <a:pt x="3" y="27"/>
                  </a:moveTo>
                  <a:lnTo>
                    <a:pt x="0" y="55"/>
                  </a:lnTo>
                  <a:lnTo>
                    <a:pt x="50" y="89"/>
                  </a:lnTo>
                  <a:lnTo>
                    <a:pt x="79" y="65"/>
                  </a:lnTo>
                  <a:lnTo>
                    <a:pt x="55" y="35"/>
                  </a:lnTo>
                  <a:lnTo>
                    <a:pt x="5" y="0"/>
                  </a:lnTo>
                  <a:lnTo>
                    <a:pt x="3" y="27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šḻïdè">
              <a:extLst>
                <a:ext uri="{FF2B5EF4-FFF2-40B4-BE49-F238E27FC236}">
                  <a16:creationId xmlns:a16="http://schemas.microsoft.com/office/drawing/2014/main" id="{737BED57-9447-4C09-B1E6-13EE791B2ADE}"/>
                </a:ext>
              </a:extLst>
            </p:cNvPr>
            <p:cNvSpPr/>
            <p:nvPr/>
          </p:nvSpPr>
          <p:spPr bwMode="auto">
            <a:xfrm>
              <a:off x="7691222" y="4131011"/>
              <a:ext cx="303921" cy="1227153"/>
            </a:xfrm>
            <a:custGeom>
              <a:avLst/>
              <a:gdLst>
                <a:gd name="T0" fmla="*/ 8 w 212"/>
                <a:gd name="T1" fmla="*/ 10 h 856"/>
                <a:gd name="T2" fmla="*/ 0 w 212"/>
                <a:gd name="T3" fmla="*/ 92 h 856"/>
                <a:gd name="T4" fmla="*/ 75 w 212"/>
                <a:gd name="T5" fmla="*/ 379 h 856"/>
                <a:gd name="T6" fmla="*/ 5 w 212"/>
                <a:gd name="T7" fmla="*/ 839 h 856"/>
                <a:gd name="T8" fmla="*/ 56 w 212"/>
                <a:gd name="T9" fmla="*/ 856 h 856"/>
                <a:gd name="T10" fmla="*/ 191 w 212"/>
                <a:gd name="T11" fmla="*/ 407 h 856"/>
                <a:gd name="T12" fmla="*/ 212 w 212"/>
                <a:gd name="T13" fmla="*/ 276 h 856"/>
                <a:gd name="T14" fmla="*/ 211 w 212"/>
                <a:gd name="T15" fmla="*/ 0 h 856"/>
                <a:gd name="T16" fmla="*/ 8 w 212"/>
                <a:gd name="T17" fmla="*/ 10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856">
                  <a:moveTo>
                    <a:pt x="8" y="10"/>
                  </a:moveTo>
                  <a:lnTo>
                    <a:pt x="0" y="92"/>
                  </a:lnTo>
                  <a:lnTo>
                    <a:pt x="75" y="379"/>
                  </a:lnTo>
                  <a:lnTo>
                    <a:pt x="5" y="839"/>
                  </a:lnTo>
                  <a:lnTo>
                    <a:pt x="56" y="856"/>
                  </a:lnTo>
                  <a:lnTo>
                    <a:pt x="191" y="407"/>
                  </a:lnTo>
                  <a:lnTo>
                    <a:pt x="212" y="276"/>
                  </a:lnTo>
                  <a:lnTo>
                    <a:pt x="211" y="0"/>
                  </a:lnTo>
                  <a:lnTo>
                    <a:pt x="8" y="1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ïsļiḓè">
              <a:extLst>
                <a:ext uri="{FF2B5EF4-FFF2-40B4-BE49-F238E27FC236}">
                  <a16:creationId xmlns:a16="http://schemas.microsoft.com/office/drawing/2014/main" id="{EF93D7A3-06E9-4852-83B1-08D770F127CA}"/>
                </a:ext>
              </a:extLst>
            </p:cNvPr>
            <p:cNvSpPr/>
            <p:nvPr/>
          </p:nvSpPr>
          <p:spPr bwMode="auto">
            <a:xfrm>
              <a:off x="7901960" y="4176887"/>
              <a:ext cx="364132" cy="1204216"/>
            </a:xfrm>
            <a:custGeom>
              <a:avLst/>
              <a:gdLst>
                <a:gd name="T0" fmla="*/ 254 w 254"/>
                <a:gd name="T1" fmla="*/ 70 h 840"/>
                <a:gd name="T2" fmla="*/ 147 w 254"/>
                <a:gd name="T3" fmla="*/ 840 h 840"/>
                <a:gd name="T4" fmla="*/ 98 w 254"/>
                <a:gd name="T5" fmla="*/ 840 h 840"/>
                <a:gd name="T6" fmla="*/ 89 w 254"/>
                <a:gd name="T7" fmla="*/ 347 h 840"/>
                <a:gd name="T8" fmla="*/ 0 w 254"/>
                <a:gd name="T9" fmla="*/ 0 h 840"/>
                <a:gd name="T10" fmla="*/ 254 w 254"/>
                <a:gd name="T11" fmla="*/ 70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4" h="840">
                  <a:moveTo>
                    <a:pt x="254" y="70"/>
                  </a:moveTo>
                  <a:lnTo>
                    <a:pt x="147" y="840"/>
                  </a:lnTo>
                  <a:lnTo>
                    <a:pt x="98" y="840"/>
                  </a:lnTo>
                  <a:lnTo>
                    <a:pt x="89" y="347"/>
                  </a:lnTo>
                  <a:lnTo>
                    <a:pt x="0" y="0"/>
                  </a:lnTo>
                  <a:lnTo>
                    <a:pt x="254" y="7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íşļîḋè">
              <a:extLst>
                <a:ext uri="{FF2B5EF4-FFF2-40B4-BE49-F238E27FC236}">
                  <a16:creationId xmlns:a16="http://schemas.microsoft.com/office/drawing/2014/main" id="{4C33B737-3D8A-4B73-82DF-E502085E2DA3}"/>
                </a:ext>
              </a:extLst>
            </p:cNvPr>
            <p:cNvSpPr/>
            <p:nvPr/>
          </p:nvSpPr>
          <p:spPr bwMode="auto">
            <a:xfrm>
              <a:off x="8042452" y="5373934"/>
              <a:ext cx="114687" cy="78848"/>
            </a:xfrm>
            <a:custGeom>
              <a:avLst/>
              <a:gdLst>
                <a:gd name="T0" fmla="*/ 53 w 80"/>
                <a:gd name="T1" fmla="*/ 0 h 55"/>
                <a:gd name="T2" fmla="*/ 80 w 80"/>
                <a:gd name="T3" fmla="*/ 27 h 55"/>
                <a:gd name="T4" fmla="*/ 53 w 80"/>
                <a:gd name="T5" fmla="*/ 55 h 55"/>
                <a:gd name="T6" fmla="*/ 0 w 80"/>
                <a:gd name="T7" fmla="*/ 27 h 55"/>
                <a:gd name="T8" fmla="*/ 0 w 80"/>
                <a:gd name="T9" fmla="*/ 0 h 55"/>
                <a:gd name="T10" fmla="*/ 53 w 80"/>
                <a:gd name="T1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55">
                  <a:moveTo>
                    <a:pt x="53" y="0"/>
                  </a:moveTo>
                  <a:lnTo>
                    <a:pt x="80" y="27"/>
                  </a:lnTo>
                  <a:lnTo>
                    <a:pt x="53" y="55"/>
                  </a:lnTo>
                  <a:lnTo>
                    <a:pt x="0" y="27"/>
                  </a:lnTo>
                  <a:lnTo>
                    <a:pt x="0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íṩḻíḍe">
              <a:extLst>
                <a:ext uri="{FF2B5EF4-FFF2-40B4-BE49-F238E27FC236}">
                  <a16:creationId xmlns:a16="http://schemas.microsoft.com/office/drawing/2014/main" id="{F3B4F8D9-DFEE-4F70-8B66-475516E9A616}"/>
                </a:ext>
              </a:extLst>
            </p:cNvPr>
            <p:cNvSpPr/>
            <p:nvPr/>
          </p:nvSpPr>
          <p:spPr bwMode="auto">
            <a:xfrm>
              <a:off x="7441778" y="3371208"/>
              <a:ext cx="963373" cy="1304567"/>
            </a:xfrm>
            <a:custGeom>
              <a:avLst/>
              <a:gdLst>
                <a:gd name="T0" fmla="*/ 417 w 619"/>
                <a:gd name="T1" fmla="*/ 29 h 840"/>
                <a:gd name="T2" fmla="*/ 249 w 619"/>
                <a:gd name="T3" fmla="*/ 17 h 840"/>
                <a:gd name="T4" fmla="*/ 199 w 619"/>
                <a:gd name="T5" fmla="*/ 314 h 840"/>
                <a:gd name="T6" fmla="*/ 126 w 619"/>
                <a:gd name="T7" fmla="*/ 565 h 840"/>
                <a:gd name="T8" fmla="*/ 20 w 619"/>
                <a:gd name="T9" fmla="*/ 745 h 840"/>
                <a:gd name="T10" fmla="*/ 2 w 619"/>
                <a:gd name="T11" fmla="*/ 776 h 840"/>
                <a:gd name="T12" fmla="*/ 16 w 619"/>
                <a:gd name="T13" fmla="*/ 792 h 840"/>
                <a:gd name="T14" fmla="*/ 228 w 619"/>
                <a:gd name="T15" fmla="*/ 839 h 840"/>
                <a:gd name="T16" fmla="*/ 395 w 619"/>
                <a:gd name="T17" fmla="*/ 839 h 840"/>
                <a:gd name="T18" fmla="*/ 610 w 619"/>
                <a:gd name="T19" fmla="*/ 788 h 840"/>
                <a:gd name="T20" fmla="*/ 619 w 619"/>
                <a:gd name="T21" fmla="*/ 777 h 840"/>
                <a:gd name="T22" fmla="*/ 614 w 619"/>
                <a:gd name="T23" fmla="*/ 766 h 840"/>
                <a:gd name="T24" fmla="*/ 567 w 619"/>
                <a:gd name="T25" fmla="*/ 538 h 840"/>
                <a:gd name="T26" fmla="*/ 529 w 619"/>
                <a:gd name="T27" fmla="*/ 302 h 840"/>
                <a:gd name="T28" fmla="*/ 481 w 619"/>
                <a:gd name="T29" fmla="*/ 156 h 840"/>
                <a:gd name="T30" fmla="*/ 420 w 619"/>
                <a:gd name="T31" fmla="*/ 32 h 840"/>
                <a:gd name="T32" fmla="*/ 417 w 619"/>
                <a:gd name="T33" fmla="*/ 29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9" h="840">
                  <a:moveTo>
                    <a:pt x="417" y="29"/>
                  </a:moveTo>
                  <a:cubicBezTo>
                    <a:pt x="381" y="0"/>
                    <a:pt x="295" y="17"/>
                    <a:pt x="249" y="17"/>
                  </a:cubicBezTo>
                  <a:cubicBezTo>
                    <a:pt x="240" y="117"/>
                    <a:pt x="221" y="216"/>
                    <a:pt x="199" y="314"/>
                  </a:cubicBezTo>
                  <a:cubicBezTo>
                    <a:pt x="180" y="398"/>
                    <a:pt x="143" y="481"/>
                    <a:pt x="126" y="565"/>
                  </a:cubicBezTo>
                  <a:cubicBezTo>
                    <a:pt x="112" y="640"/>
                    <a:pt x="80" y="694"/>
                    <a:pt x="20" y="745"/>
                  </a:cubicBezTo>
                  <a:cubicBezTo>
                    <a:pt x="10" y="753"/>
                    <a:pt x="0" y="764"/>
                    <a:pt x="2" y="776"/>
                  </a:cubicBezTo>
                  <a:cubicBezTo>
                    <a:pt x="4" y="783"/>
                    <a:pt x="10" y="788"/>
                    <a:pt x="16" y="792"/>
                  </a:cubicBezTo>
                  <a:cubicBezTo>
                    <a:pt x="77" y="834"/>
                    <a:pt x="155" y="838"/>
                    <a:pt x="228" y="839"/>
                  </a:cubicBezTo>
                  <a:cubicBezTo>
                    <a:pt x="284" y="840"/>
                    <a:pt x="339" y="840"/>
                    <a:pt x="395" y="839"/>
                  </a:cubicBezTo>
                  <a:cubicBezTo>
                    <a:pt x="468" y="838"/>
                    <a:pt x="548" y="829"/>
                    <a:pt x="610" y="788"/>
                  </a:cubicBezTo>
                  <a:cubicBezTo>
                    <a:pt x="614" y="785"/>
                    <a:pt x="618" y="781"/>
                    <a:pt x="619" y="777"/>
                  </a:cubicBezTo>
                  <a:cubicBezTo>
                    <a:pt x="619" y="773"/>
                    <a:pt x="616" y="769"/>
                    <a:pt x="614" y="766"/>
                  </a:cubicBezTo>
                  <a:cubicBezTo>
                    <a:pt x="571" y="706"/>
                    <a:pt x="576" y="607"/>
                    <a:pt x="567" y="538"/>
                  </a:cubicBezTo>
                  <a:cubicBezTo>
                    <a:pt x="558" y="459"/>
                    <a:pt x="548" y="380"/>
                    <a:pt x="529" y="302"/>
                  </a:cubicBezTo>
                  <a:cubicBezTo>
                    <a:pt x="517" y="252"/>
                    <a:pt x="501" y="203"/>
                    <a:pt x="481" y="156"/>
                  </a:cubicBezTo>
                  <a:cubicBezTo>
                    <a:pt x="466" y="119"/>
                    <a:pt x="448" y="60"/>
                    <a:pt x="420" y="32"/>
                  </a:cubicBezTo>
                  <a:cubicBezTo>
                    <a:pt x="419" y="31"/>
                    <a:pt x="418" y="30"/>
                    <a:pt x="417" y="29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íṡḻídè">
              <a:extLst>
                <a:ext uri="{FF2B5EF4-FFF2-40B4-BE49-F238E27FC236}">
                  <a16:creationId xmlns:a16="http://schemas.microsoft.com/office/drawing/2014/main" id="{17E42052-FFFA-4D06-9CE2-4C299B0761F5}"/>
                </a:ext>
              </a:extLst>
            </p:cNvPr>
            <p:cNvSpPr/>
            <p:nvPr/>
          </p:nvSpPr>
          <p:spPr bwMode="auto">
            <a:xfrm>
              <a:off x="7922030" y="3128931"/>
              <a:ext cx="124723" cy="163429"/>
            </a:xfrm>
            <a:custGeom>
              <a:avLst/>
              <a:gdLst>
                <a:gd name="T0" fmla="*/ 2 w 80"/>
                <a:gd name="T1" fmla="*/ 49 h 105"/>
                <a:gd name="T2" fmla="*/ 33 w 80"/>
                <a:gd name="T3" fmla="*/ 0 h 105"/>
                <a:gd name="T4" fmla="*/ 74 w 80"/>
                <a:gd name="T5" fmla="*/ 45 h 105"/>
                <a:gd name="T6" fmla="*/ 61 w 80"/>
                <a:gd name="T7" fmla="*/ 105 h 105"/>
                <a:gd name="T8" fmla="*/ 0 w 80"/>
                <a:gd name="T9" fmla="*/ 49 h 105"/>
                <a:gd name="T10" fmla="*/ 2 w 80"/>
                <a:gd name="T11" fmla="*/ 4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105">
                  <a:moveTo>
                    <a:pt x="2" y="49"/>
                  </a:moveTo>
                  <a:cubicBezTo>
                    <a:pt x="5" y="29"/>
                    <a:pt x="17" y="11"/>
                    <a:pt x="33" y="0"/>
                  </a:cubicBezTo>
                  <a:cubicBezTo>
                    <a:pt x="53" y="7"/>
                    <a:pt x="69" y="25"/>
                    <a:pt x="74" y="45"/>
                  </a:cubicBezTo>
                  <a:cubicBezTo>
                    <a:pt x="80" y="66"/>
                    <a:pt x="75" y="89"/>
                    <a:pt x="61" y="105"/>
                  </a:cubicBezTo>
                  <a:cubicBezTo>
                    <a:pt x="54" y="77"/>
                    <a:pt x="29" y="53"/>
                    <a:pt x="0" y="49"/>
                  </a:cubicBezTo>
                  <a:lnTo>
                    <a:pt x="2" y="49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iṣ1ïḑè">
              <a:extLst>
                <a:ext uri="{FF2B5EF4-FFF2-40B4-BE49-F238E27FC236}">
                  <a16:creationId xmlns:a16="http://schemas.microsoft.com/office/drawing/2014/main" id="{A4723DB1-57D3-48FD-9931-A614DBB2E963}"/>
                </a:ext>
              </a:extLst>
            </p:cNvPr>
            <p:cNvSpPr/>
            <p:nvPr/>
          </p:nvSpPr>
          <p:spPr bwMode="auto">
            <a:xfrm>
              <a:off x="7780105" y="3116030"/>
              <a:ext cx="260914" cy="361265"/>
            </a:xfrm>
            <a:custGeom>
              <a:avLst/>
              <a:gdLst>
                <a:gd name="T0" fmla="*/ 125 w 168"/>
                <a:gd name="T1" fmla="*/ 202 h 232"/>
                <a:gd name="T2" fmla="*/ 164 w 168"/>
                <a:gd name="T3" fmla="*/ 146 h 232"/>
                <a:gd name="T4" fmla="*/ 156 w 168"/>
                <a:gd name="T5" fmla="*/ 76 h 232"/>
                <a:gd name="T6" fmla="*/ 18 w 168"/>
                <a:gd name="T7" fmla="*/ 91 h 232"/>
                <a:gd name="T8" fmla="*/ 125 w 168"/>
                <a:gd name="T9" fmla="*/ 20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232">
                  <a:moveTo>
                    <a:pt x="125" y="202"/>
                  </a:moveTo>
                  <a:cubicBezTo>
                    <a:pt x="147" y="192"/>
                    <a:pt x="160" y="169"/>
                    <a:pt x="164" y="146"/>
                  </a:cubicBezTo>
                  <a:cubicBezTo>
                    <a:pt x="168" y="122"/>
                    <a:pt x="164" y="98"/>
                    <a:pt x="156" y="76"/>
                  </a:cubicBezTo>
                  <a:cubicBezTo>
                    <a:pt x="132" y="0"/>
                    <a:pt x="38" y="25"/>
                    <a:pt x="18" y="91"/>
                  </a:cubicBezTo>
                  <a:cubicBezTo>
                    <a:pt x="0" y="149"/>
                    <a:pt x="63" y="232"/>
                    <a:pt x="125" y="202"/>
                  </a:cubicBez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ïslïďe">
              <a:extLst>
                <a:ext uri="{FF2B5EF4-FFF2-40B4-BE49-F238E27FC236}">
                  <a16:creationId xmlns:a16="http://schemas.microsoft.com/office/drawing/2014/main" id="{D3306765-840B-42E8-8948-E0A49BA0B01A}"/>
                </a:ext>
              </a:extLst>
            </p:cNvPr>
            <p:cNvSpPr/>
            <p:nvPr/>
          </p:nvSpPr>
          <p:spPr bwMode="auto">
            <a:xfrm>
              <a:off x="7612375" y="3094525"/>
              <a:ext cx="457316" cy="1211384"/>
            </a:xfrm>
            <a:custGeom>
              <a:avLst/>
              <a:gdLst>
                <a:gd name="T0" fmla="*/ 206 w 294"/>
                <a:gd name="T1" fmla="*/ 743 h 780"/>
                <a:gd name="T2" fmla="*/ 222 w 294"/>
                <a:gd name="T3" fmla="*/ 695 h 780"/>
                <a:gd name="T4" fmla="*/ 258 w 294"/>
                <a:gd name="T5" fmla="*/ 674 h 780"/>
                <a:gd name="T6" fmla="*/ 294 w 294"/>
                <a:gd name="T7" fmla="*/ 611 h 780"/>
                <a:gd name="T8" fmla="*/ 274 w 294"/>
                <a:gd name="T9" fmla="*/ 538 h 780"/>
                <a:gd name="T10" fmla="*/ 197 w 294"/>
                <a:gd name="T11" fmla="*/ 280 h 780"/>
                <a:gd name="T12" fmla="*/ 206 w 294"/>
                <a:gd name="T13" fmla="*/ 186 h 780"/>
                <a:gd name="T14" fmla="*/ 218 w 294"/>
                <a:gd name="T15" fmla="*/ 102 h 780"/>
                <a:gd name="T16" fmla="*/ 236 w 294"/>
                <a:gd name="T17" fmla="*/ 50 h 780"/>
                <a:gd name="T18" fmla="*/ 222 w 294"/>
                <a:gd name="T19" fmla="*/ 18 h 780"/>
                <a:gd name="T20" fmla="*/ 174 w 294"/>
                <a:gd name="T21" fmla="*/ 2 h 780"/>
                <a:gd name="T22" fmla="*/ 57 w 294"/>
                <a:gd name="T23" fmla="*/ 116 h 780"/>
                <a:gd name="T24" fmla="*/ 72 w 294"/>
                <a:gd name="T25" fmla="*/ 280 h 780"/>
                <a:gd name="T26" fmla="*/ 42 w 294"/>
                <a:gd name="T27" fmla="*/ 533 h 780"/>
                <a:gd name="T28" fmla="*/ 4 w 294"/>
                <a:gd name="T29" fmla="*/ 627 h 780"/>
                <a:gd name="T30" fmla="*/ 47 w 294"/>
                <a:gd name="T31" fmla="*/ 712 h 780"/>
                <a:gd name="T32" fmla="*/ 85 w 294"/>
                <a:gd name="T33" fmla="*/ 724 h 780"/>
                <a:gd name="T34" fmla="*/ 91 w 294"/>
                <a:gd name="T35" fmla="*/ 757 h 780"/>
                <a:gd name="T36" fmla="*/ 138 w 294"/>
                <a:gd name="T37" fmla="*/ 753 h 780"/>
                <a:gd name="T38" fmla="*/ 206 w 294"/>
                <a:gd name="T39" fmla="*/ 743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780">
                  <a:moveTo>
                    <a:pt x="206" y="743"/>
                  </a:moveTo>
                  <a:cubicBezTo>
                    <a:pt x="220" y="732"/>
                    <a:pt x="218" y="712"/>
                    <a:pt x="222" y="695"/>
                  </a:cubicBezTo>
                  <a:cubicBezTo>
                    <a:pt x="225" y="678"/>
                    <a:pt x="246" y="661"/>
                    <a:pt x="258" y="674"/>
                  </a:cubicBezTo>
                  <a:cubicBezTo>
                    <a:pt x="281" y="665"/>
                    <a:pt x="294" y="637"/>
                    <a:pt x="294" y="611"/>
                  </a:cubicBezTo>
                  <a:cubicBezTo>
                    <a:pt x="294" y="586"/>
                    <a:pt x="283" y="561"/>
                    <a:pt x="274" y="538"/>
                  </a:cubicBezTo>
                  <a:cubicBezTo>
                    <a:pt x="238" y="453"/>
                    <a:pt x="197" y="373"/>
                    <a:pt x="197" y="280"/>
                  </a:cubicBezTo>
                  <a:cubicBezTo>
                    <a:pt x="197" y="248"/>
                    <a:pt x="201" y="217"/>
                    <a:pt x="206" y="186"/>
                  </a:cubicBezTo>
                  <a:cubicBezTo>
                    <a:pt x="210" y="158"/>
                    <a:pt x="213" y="130"/>
                    <a:pt x="218" y="102"/>
                  </a:cubicBezTo>
                  <a:cubicBezTo>
                    <a:pt x="221" y="84"/>
                    <a:pt x="234" y="68"/>
                    <a:pt x="236" y="50"/>
                  </a:cubicBezTo>
                  <a:cubicBezTo>
                    <a:pt x="237" y="38"/>
                    <a:pt x="230" y="26"/>
                    <a:pt x="222" y="18"/>
                  </a:cubicBezTo>
                  <a:cubicBezTo>
                    <a:pt x="208" y="5"/>
                    <a:pt x="193" y="0"/>
                    <a:pt x="174" y="2"/>
                  </a:cubicBezTo>
                  <a:cubicBezTo>
                    <a:pt x="110" y="8"/>
                    <a:pt x="67" y="52"/>
                    <a:pt x="57" y="116"/>
                  </a:cubicBezTo>
                  <a:cubicBezTo>
                    <a:pt x="48" y="171"/>
                    <a:pt x="62" y="226"/>
                    <a:pt x="72" y="280"/>
                  </a:cubicBezTo>
                  <a:cubicBezTo>
                    <a:pt x="87" y="362"/>
                    <a:pt x="82" y="459"/>
                    <a:pt x="42" y="533"/>
                  </a:cubicBezTo>
                  <a:cubicBezTo>
                    <a:pt x="26" y="563"/>
                    <a:pt x="8" y="593"/>
                    <a:pt x="4" y="627"/>
                  </a:cubicBezTo>
                  <a:cubicBezTo>
                    <a:pt x="0" y="661"/>
                    <a:pt x="15" y="700"/>
                    <a:pt x="47" y="712"/>
                  </a:cubicBezTo>
                  <a:cubicBezTo>
                    <a:pt x="60" y="717"/>
                    <a:pt x="74" y="717"/>
                    <a:pt x="85" y="724"/>
                  </a:cubicBezTo>
                  <a:cubicBezTo>
                    <a:pt x="97" y="731"/>
                    <a:pt x="100" y="746"/>
                    <a:pt x="91" y="757"/>
                  </a:cubicBezTo>
                  <a:cubicBezTo>
                    <a:pt x="108" y="780"/>
                    <a:pt x="121" y="760"/>
                    <a:pt x="138" y="753"/>
                  </a:cubicBezTo>
                  <a:cubicBezTo>
                    <a:pt x="159" y="745"/>
                    <a:pt x="188" y="756"/>
                    <a:pt x="206" y="74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iŝḷidê">
              <a:extLst>
                <a:ext uri="{FF2B5EF4-FFF2-40B4-BE49-F238E27FC236}">
                  <a16:creationId xmlns:a16="http://schemas.microsoft.com/office/drawing/2014/main" id="{AB266A66-773C-4272-9D13-3C6C31545601}"/>
                </a:ext>
              </a:extLst>
            </p:cNvPr>
            <p:cNvSpPr/>
            <p:nvPr/>
          </p:nvSpPr>
          <p:spPr bwMode="auto">
            <a:xfrm>
              <a:off x="8002311" y="3193443"/>
              <a:ext cx="594940" cy="392803"/>
            </a:xfrm>
            <a:custGeom>
              <a:avLst/>
              <a:gdLst>
                <a:gd name="T0" fmla="*/ 0 w 415"/>
                <a:gd name="T1" fmla="*/ 152 h 274"/>
                <a:gd name="T2" fmla="*/ 237 w 415"/>
                <a:gd name="T3" fmla="*/ 135 h 274"/>
                <a:gd name="T4" fmla="*/ 357 w 415"/>
                <a:gd name="T5" fmla="*/ 0 h 274"/>
                <a:gd name="T6" fmla="*/ 415 w 415"/>
                <a:gd name="T7" fmla="*/ 36 h 274"/>
                <a:gd name="T8" fmla="*/ 285 w 415"/>
                <a:gd name="T9" fmla="*/ 219 h 274"/>
                <a:gd name="T10" fmla="*/ 29 w 415"/>
                <a:gd name="T11" fmla="*/ 274 h 274"/>
                <a:gd name="T12" fmla="*/ 0 w 415"/>
                <a:gd name="T13" fmla="*/ 15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5" h="274">
                  <a:moveTo>
                    <a:pt x="0" y="152"/>
                  </a:moveTo>
                  <a:lnTo>
                    <a:pt x="237" y="135"/>
                  </a:lnTo>
                  <a:lnTo>
                    <a:pt x="357" y="0"/>
                  </a:lnTo>
                  <a:lnTo>
                    <a:pt x="415" y="36"/>
                  </a:lnTo>
                  <a:lnTo>
                    <a:pt x="285" y="219"/>
                  </a:lnTo>
                  <a:lnTo>
                    <a:pt x="29" y="27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íşļïďè">
              <a:extLst>
                <a:ext uri="{FF2B5EF4-FFF2-40B4-BE49-F238E27FC236}">
                  <a16:creationId xmlns:a16="http://schemas.microsoft.com/office/drawing/2014/main" id="{DE81615F-7EC6-4B72-8CBF-0B0AD1F81376}"/>
                </a:ext>
              </a:extLst>
            </p:cNvPr>
            <p:cNvSpPr/>
            <p:nvPr/>
          </p:nvSpPr>
          <p:spPr bwMode="auto">
            <a:xfrm>
              <a:off x="8534174" y="3128931"/>
              <a:ext cx="110387" cy="107519"/>
            </a:xfrm>
            <a:custGeom>
              <a:avLst/>
              <a:gdLst>
                <a:gd name="T0" fmla="*/ 0 w 77"/>
                <a:gd name="T1" fmla="*/ 54 h 75"/>
                <a:gd name="T2" fmla="*/ 12 w 77"/>
                <a:gd name="T3" fmla="*/ 12 h 75"/>
                <a:gd name="T4" fmla="*/ 27 w 77"/>
                <a:gd name="T5" fmla="*/ 12 h 75"/>
                <a:gd name="T6" fmla="*/ 32 w 77"/>
                <a:gd name="T7" fmla="*/ 0 h 75"/>
                <a:gd name="T8" fmla="*/ 55 w 77"/>
                <a:gd name="T9" fmla="*/ 0 h 75"/>
                <a:gd name="T10" fmla="*/ 77 w 77"/>
                <a:gd name="T11" fmla="*/ 31 h 75"/>
                <a:gd name="T12" fmla="*/ 35 w 77"/>
                <a:gd name="T13" fmla="*/ 75 h 75"/>
                <a:gd name="T14" fmla="*/ 0 w 77"/>
                <a:gd name="T15" fmla="*/ 5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75">
                  <a:moveTo>
                    <a:pt x="0" y="54"/>
                  </a:moveTo>
                  <a:lnTo>
                    <a:pt x="12" y="12"/>
                  </a:lnTo>
                  <a:lnTo>
                    <a:pt x="27" y="12"/>
                  </a:lnTo>
                  <a:lnTo>
                    <a:pt x="32" y="0"/>
                  </a:lnTo>
                  <a:lnTo>
                    <a:pt x="55" y="0"/>
                  </a:lnTo>
                  <a:lnTo>
                    <a:pt x="77" y="31"/>
                  </a:lnTo>
                  <a:lnTo>
                    <a:pt x="35" y="75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ïṡļïḍé">
              <a:extLst>
                <a:ext uri="{FF2B5EF4-FFF2-40B4-BE49-F238E27FC236}">
                  <a16:creationId xmlns:a16="http://schemas.microsoft.com/office/drawing/2014/main" id="{35AC0C4A-4238-449D-8810-2E93A5D7BB50}"/>
                </a:ext>
              </a:extLst>
            </p:cNvPr>
            <p:cNvSpPr/>
            <p:nvPr/>
          </p:nvSpPr>
          <p:spPr bwMode="auto">
            <a:xfrm>
              <a:off x="8534174" y="3038616"/>
              <a:ext cx="55911" cy="107519"/>
            </a:xfrm>
            <a:custGeom>
              <a:avLst/>
              <a:gdLst>
                <a:gd name="T0" fmla="*/ 12 w 39"/>
                <a:gd name="T1" fmla="*/ 75 h 75"/>
                <a:gd name="T2" fmla="*/ 0 w 39"/>
                <a:gd name="T3" fmla="*/ 9 h 75"/>
                <a:gd name="T4" fmla="*/ 22 w 39"/>
                <a:gd name="T5" fmla="*/ 0 h 75"/>
                <a:gd name="T6" fmla="*/ 39 w 39"/>
                <a:gd name="T7" fmla="*/ 75 h 75"/>
                <a:gd name="T8" fmla="*/ 12 w 39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75">
                  <a:moveTo>
                    <a:pt x="12" y="75"/>
                  </a:moveTo>
                  <a:lnTo>
                    <a:pt x="0" y="9"/>
                  </a:lnTo>
                  <a:lnTo>
                    <a:pt x="22" y="0"/>
                  </a:lnTo>
                  <a:lnTo>
                    <a:pt x="39" y="75"/>
                  </a:lnTo>
                  <a:lnTo>
                    <a:pt x="12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ṡ1iďe">
              <a:extLst>
                <a:ext uri="{FF2B5EF4-FFF2-40B4-BE49-F238E27FC236}">
                  <a16:creationId xmlns:a16="http://schemas.microsoft.com/office/drawing/2014/main" id="{018972AF-7AC5-4901-A5BD-29BF1B06F1A3}"/>
                </a:ext>
              </a:extLst>
            </p:cNvPr>
            <p:cNvSpPr/>
            <p:nvPr/>
          </p:nvSpPr>
          <p:spPr bwMode="auto">
            <a:xfrm>
              <a:off x="9718320" y="5244911"/>
              <a:ext cx="170598" cy="147660"/>
            </a:xfrm>
            <a:custGeom>
              <a:avLst/>
              <a:gdLst>
                <a:gd name="T0" fmla="*/ 1 w 110"/>
                <a:gd name="T1" fmla="*/ 54 h 95"/>
                <a:gd name="T2" fmla="*/ 47 w 110"/>
                <a:gd name="T3" fmla="*/ 12 h 95"/>
                <a:gd name="T4" fmla="*/ 86 w 110"/>
                <a:gd name="T5" fmla="*/ 0 h 95"/>
                <a:gd name="T6" fmla="*/ 105 w 110"/>
                <a:gd name="T7" fmla="*/ 9 h 95"/>
                <a:gd name="T8" fmla="*/ 107 w 110"/>
                <a:gd name="T9" fmla="*/ 30 h 95"/>
                <a:gd name="T10" fmla="*/ 103 w 110"/>
                <a:gd name="T11" fmla="*/ 36 h 95"/>
                <a:gd name="T12" fmla="*/ 103 w 110"/>
                <a:gd name="T13" fmla="*/ 36 h 95"/>
                <a:gd name="T14" fmla="*/ 103 w 110"/>
                <a:gd name="T15" fmla="*/ 36 h 95"/>
                <a:gd name="T16" fmla="*/ 99 w 110"/>
                <a:gd name="T17" fmla="*/ 41 h 95"/>
                <a:gd name="T18" fmla="*/ 95 w 110"/>
                <a:gd name="T19" fmla="*/ 44 h 95"/>
                <a:gd name="T20" fmla="*/ 64 w 110"/>
                <a:gd name="T21" fmla="*/ 75 h 95"/>
                <a:gd name="T22" fmla="*/ 11 w 110"/>
                <a:gd name="T23" fmla="*/ 79 h 95"/>
                <a:gd name="T24" fmla="*/ 11 w 110"/>
                <a:gd name="T25" fmla="*/ 78 h 95"/>
                <a:gd name="T26" fmla="*/ 1 w 110"/>
                <a:gd name="T27" fmla="*/ 5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0" h="95">
                  <a:moveTo>
                    <a:pt x="1" y="54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60" y="5"/>
                    <a:pt x="74" y="0"/>
                    <a:pt x="86" y="0"/>
                  </a:cubicBezTo>
                  <a:cubicBezTo>
                    <a:pt x="94" y="0"/>
                    <a:pt x="101" y="3"/>
                    <a:pt x="105" y="9"/>
                  </a:cubicBezTo>
                  <a:cubicBezTo>
                    <a:pt x="109" y="15"/>
                    <a:pt x="110" y="23"/>
                    <a:pt x="107" y="30"/>
                  </a:cubicBezTo>
                  <a:cubicBezTo>
                    <a:pt x="106" y="32"/>
                    <a:pt x="104" y="34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2" y="38"/>
                    <a:pt x="100" y="39"/>
                    <a:pt x="99" y="41"/>
                  </a:cubicBezTo>
                  <a:cubicBezTo>
                    <a:pt x="98" y="42"/>
                    <a:pt x="97" y="43"/>
                    <a:pt x="95" y="44"/>
                  </a:cubicBezTo>
                  <a:cubicBezTo>
                    <a:pt x="86" y="54"/>
                    <a:pt x="70" y="71"/>
                    <a:pt x="64" y="75"/>
                  </a:cubicBezTo>
                  <a:cubicBezTo>
                    <a:pt x="55" y="80"/>
                    <a:pt x="34" y="95"/>
                    <a:pt x="11" y="79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2" y="72"/>
                    <a:pt x="0" y="63"/>
                    <a:pt x="1" y="54"/>
                  </a:cubicBezTo>
                  <a:close/>
                </a:path>
              </a:pathLst>
            </a:custGeom>
            <a:solidFill>
              <a:srgbClr val="3C3C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íṣľiḑe">
              <a:extLst>
                <a:ext uri="{FF2B5EF4-FFF2-40B4-BE49-F238E27FC236}">
                  <a16:creationId xmlns:a16="http://schemas.microsoft.com/office/drawing/2014/main" id="{32BAA74E-BF95-482E-BBF4-6ED1D296459E}"/>
                </a:ext>
              </a:extLst>
            </p:cNvPr>
            <p:cNvSpPr/>
            <p:nvPr/>
          </p:nvSpPr>
          <p:spPr bwMode="auto">
            <a:xfrm>
              <a:off x="9775663" y="4751755"/>
              <a:ext cx="141926" cy="572004"/>
            </a:xfrm>
            <a:custGeom>
              <a:avLst/>
              <a:gdLst>
                <a:gd name="T0" fmla="*/ 0 w 91"/>
                <a:gd name="T1" fmla="*/ 4 h 368"/>
                <a:gd name="T2" fmla="*/ 4 w 91"/>
                <a:gd name="T3" fmla="*/ 57 h 368"/>
                <a:gd name="T4" fmla="*/ 22 w 91"/>
                <a:gd name="T5" fmla="*/ 314 h 368"/>
                <a:gd name="T6" fmla="*/ 4 w 91"/>
                <a:gd name="T7" fmla="*/ 344 h 368"/>
                <a:gd name="T8" fmla="*/ 28 w 91"/>
                <a:gd name="T9" fmla="*/ 366 h 368"/>
                <a:gd name="T10" fmla="*/ 65 w 91"/>
                <a:gd name="T11" fmla="*/ 329 h 368"/>
                <a:gd name="T12" fmla="*/ 61 w 91"/>
                <a:gd name="T13" fmla="*/ 312 h 368"/>
                <a:gd name="T14" fmla="*/ 81 w 91"/>
                <a:gd name="T15" fmla="*/ 118 h 368"/>
                <a:gd name="T16" fmla="*/ 81 w 91"/>
                <a:gd name="T17" fmla="*/ 62 h 368"/>
                <a:gd name="T18" fmla="*/ 91 w 91"/>
                <a:gd name="T19" fmla="*/ 0 h 368"/>
                <a:gd name="T20" fmla="*/ 0 w 91"/>
                <a:gd name="T21" fmla="*/ 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368">
                  <a:moveTo>
                    <a:pt x="0" y="4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2" y="314"/>
                    <a:pt x="22" y="314"/>
                    <a:pt x="22" y="314"/>
                  </a:cubicBezTo>
                  <a:cubicBezTo>
                    <a:pt x="4" y="344"/>
                    <a:pt x="4" y="344"/>
                    <a:pt x="4" y="344"/>
                  </a:cubicBezTo>
                  <a:cubicBezTo>
                    <a:pt x="4" y="344"/>
                    <a:pt x="0" y="368"/>
                    <a:pt x="28" y="366"/>
                  </a:cubicBezTo>
                  <a:cubicBezTo>
                    <a:pt x="36" y="366"/>
                    <a:pt x="65" y="329"/>
                    <a:pt x="65" y="329"/>
                  </a:cubicBezTo>
                  <a:cubicBezTo>
                    <a:pt x="61" y="312"/>
                    <a:pt x="61" y="312"/>
                    <a:pt x="61" y="312"/>
                  </a:cubicBezTo>
                  <a:cubicBezTo>
                    <a:pt x="81" y="118"/>
                    <a:pt x="81" y="118"/>
                    <a:pt x="81" y="118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91" y="0"/>
                    <a:pt x="91" y="0"/>
                    <a:pt x="91" y="0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iṡļïḋé">
              <a:extLst>
                <a:ext uri="{FF2B5EF4-FFF2-40B4-BE49-F238E27FC236}">
                  <a16:creationId xmlns:a16="http://schemas.microsoft.com/office/drawing/2014/main" id="{686A487F-E204-4D4A-8179-EBA482520E34}"/>
                </a:ext>
              </a:extLst>
            </p:cNvPr>
            <p:cNvSpPr/>
            <p:nvPr/>
          </p:nvSpPr>
          <p:spPr bwMode="auto">
            <a:xfrm>
              <a:off x="10113991" y="5223407"/>
              <a:ext cx="161996" cy="183500"/>
            </a:xfrm>
            <a:custGeom>
              <a:avLst/>
              <a:gdLst>
                <a:gd name="T0" fmla="*/ 71 w 104"/>
                <a:gd name="T1" fmla="*/ 2 h 118"/>
                <a:gd name="T2" fmla="*/ 94 w 104"/>
                <a:gd name="T3" fmla="*/ 5 h 118"/>
                <a:gd name="T4" fmla="*/ 103 w 104"/>
                <a:gd name="T5" fmla="*/ 25 h 118"/>
                <a:gd name="T6" fmla="*/ 98 w 104"/>
                <a:gd name="T7" fmla="*/ 40 h 118"/>
                <a:gd name="T8" fmla="*/ 21 w 104"/>
                <a:gd name="T9" fmla="*/ 108 h 118"/>
                <a:gd name="T10" fmla="*/ 3 w 104"/>
                <a:gd name="T11" fmla="*/ 75 h 118"/>
                <a:gd name="T12" fmla="*/ 71 w 104"/>
                <a:gd name="T13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118">
                  <a:moveTo>
                    <a:pt x="71" y="2"/>
                  </a:moveTo>
                  <a:cubicBezTo>
                    <a:pt x="80" y="0"/>
                    <a:pt x="88" y="0"/>
                    <a:pt x="94" y="5"/>
                  </a:cubicBezTo>
                  <a:cubicBezTo>
                    <a:pt x="100" y="10"/>
                    <a:pt x="104" y="18"/>
                    <a:pt x="103" y="25"/>
                  </a:cubicBezTo>
                  <a:cubicBezTo>
                    <a:pt x="103" y="30"/>
                    <a:pt x="100" y="35"/>
                    <a:pt x="98" y="40"/>
                  </a:cubicBezTo>
                  <a:cubicBezTo>
                    <a:pt x="87" y="64"/>
                    <a:pt x="56" y="118"/>
                    <a:pt x="21" y="108"/>
                  </a:cubicBezTo>
                  <a:cubicBezTo>
                    <a:pt x="6" y="103"/>
                    <a:pt x="0" y="88"/>
                    <a:pt x="3" y="75"/>
                  </a:cubicBezTo>
                  <a:cubicBezTo>
                    <a:pt x="8" y="55"/>
                    <a:pt x="43" y="11"/>
                    <a:pt x="71" y="2"/>
                  </a:cubicBezTo>
                  <a:close/>
                </a:path>
              </a:pathLst>
            </a:custGeom>
            <a:solidFill>
              <a:srgbClr val="3C3C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í$lide">
              <a:extLst>
                <a:ext uri="{FF2B5EF4-FFF2-40B4-BE49-F238E27FC236}">
                  <a16:creationId xmlns:a16="http://schemas.microsoft.com/office/drawing/2014/main" id="{88A484FD-9584-46B2-80AB-ABB51DF6039F}"/>
                </a:ext>
              </a:extLst>
            </p:cNvPr>
            <p:cNvSpPr/>
            <p:nvPr/>
          </p:nvSpPr>
          <p:spPr bwMode="auto">
            <a:xfrm>
              <a:off x="9947695" y="4678643"/>
              <a:ext cx="312523" cy="636514"/>
            </a:xfrm>
            <a:custGeom>
              <a:avLst/>
              <a:gdLst>
                <a:gd name="T0" fmla="*/ 0 w 201"/>
                <a:gd name="T1" fmla="*/ 20 h 409"/>
                <a:gd name="T2" fmla="*/ 6 w 201"/>
                <a:gd name="T3" fmla="*/ 96 h 409"/>
                <a:gd name="T4" fmla="*/ 155 w 201"/>
                <a:gd name="T5" fmla="*/ 365 h 409"/>
                <a:gd name="T6" fmla="*/ 147 w 201"/>
                <a:gd name="T7" fmla="*/ 406 h 409"/>
                <a:gd name="T8" fmla="*/ 201 w 201"/>
                <a:gd name="T9" fmla="*/ 355 h 409"/>
                <a:gd name="T10" fmla="*/ 124 w 201"/>
                <a:gd name="T11" fmla="*/ 130 h 409"/>
                <a:gd name="T12" fmla="*/ 95 w 201"/>
                <a:gd name="T13" fmla="*/ 85 h 409"/>
                <a:gd name="T14" fmla="*/ 95 w 201"/>
                <a:gd name="T15" fmla="*/ 0 h 409"/>
                <a:gd name="T16" fmla="*/ 0 w 201"/>
                <a:gd name="T17" fmla="*/ 2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1" h="409">
                  <a:moveTo>
                    <a:pt x="0" y="20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155" y="365"/>
                    <a:pt x="155" y="365"/>
                    <a:pt x="155" y="365"/>
                  </a:cubicBezTo>
                  <a:cubicBezTo>
                    <a:pt x="155" y="365"/>
                    <a:pt x="134" y="403"/>
                    <a:pt x="147" y="406"/>
                  </a:cubicBezTo>
                  <a:cubicBezTo>
                    <a:pt x="161" y="409"/>
                    <a:pt x="201" y="398"/>
                    <a:pt x="201" y="355"/>
                  </a:cubicBezTo>
                  <a:cubicBezTo>
                    <a:pt x="185" y="304"/>
                    <a:pt x="124" y="130"/>
                    <a:pt x="124" y="130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5" y="0"/>
                    <a:pt x="95" y="0"/>
                    <a:pt x="95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î$ḷîďe">
              <a:extLst>
                <a:ext uri="{FF2B5EF4-FFF2-40B4-BE49-F238E27FC236}">
                  <a16:creationId xmlns:a16="http://schemas.microsoft.com/office/drawing/2014/main" id="{9A310727-8DF3-45AE-8DD6-FDA91DE5A58E}"/>
                </a:ext>
              </a:extLst>
            </p:cNvPr>
            <p:cNvSpPr/>
            <p:nvPr/>
          </p:nvSpPr>
          <p:spPr bwMode="auto">
            <a:xfrm>
              <a:off x="9686781" y="3388412"/>
              <a:ext cx="526128" cy="1397751"/>
            </a:xfrm>
            <a:custGeom>
              <a:avLst/>
              <a:gdLst>
                <a:gd name="T0" fmla="*/ 337 w 338"/>
                <a:gd name="T1" fmla="*/ 596 h 900"/>
                <a:gd name="T2" fmla="*/ 323 w 338"/>
                <a:gd name="T3" fmla="*/ 494 h 900"/>
                <a:gd name="T4" fmla="*/ 291 w 338"/>
                <a:gd name="T5" fmla="*/ 318 h 900"/>
                <a:gd name="T6" fmla="*/ 319 w 338"/>
                <a:gd name="T7" fmla="*/ 58 h 900"/>
                <a:gd name="T8" fmla="*/ 223 w 338"/>
                <a:gd name="T9" fmla="*/ 0 h 900"/>
                <a:gd name="T10" fmla="*/ 108 w 338"/>
                <a:gd name="T11" fmla="*/ 4 h 900"/>
                <a:gd name="T12" fmla="*/ 44 w 338"/>
                <a:gd name="T13" fmla="*/ 25 h 900"/>
                <a:gd name="T14" fmla="*/ 26 w 338"/>
                <a:gd name="T15" fmla="*/ 353 h 900"/>
                <a:gd name="T16" fmla="*/ 15 w 338"/>
                <a:gd name="T17" fmla="*/ 526 h 900"/>
                <a:gd name="T18" fmla="*/ 22 w 338"/>
                <a:gd name="T19" fmla="*/ 839 h 900"/>
                <a:gd name="T20" fmla="*/ 30 w 338"/>
                <a:gd name="T21" fmla="*/ 897 h 900"/>
                <a:gd name="T22" fmla="*/ 30 w 338"/>
                <a:gd name="T23" fmla="*/ 900 h 900"/>
                <a:gd name="T24" fmla="*/ 31 w 338"/>
                <a:gd name="T25" fmla="*/ 900 h 900"/>
                <a:gd name="T26" fmla="*/ 287 w 338"/>
                <a:gd name="T27" fmla="*/ 900 h 900"/>
                <a:gd name="T28" fmla="*/ 287 w 338"/>
                <a:gd name="T29" fmla="*/ 807 h 900"/>
                <a:gd name="T30" fmla="*/ 311 w 338"/>
                <a:gd name="T31" fmla="*/ 718 h 900"/>
                <a:gd name="T32" fmla="*/ 337 w 338"/>
                <a:gd name="T33" fmla="*/ 596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8" h="900">
                  <a:moveTo>
                    <a:pt x="337" y="596"/>
                  </a:moveTo>
                  <a:cubicBezTo>
                    <a:pt x="338" y="574"/>
                    <a:pt x="331" y="515"/>
                    <a:pt x="323" y="494"/>
                  </a:cubicBezTo>
                  <a:cubicBezTo>
                    <a:pt x="296" y="418"/>
                    <a:pt x="291" y="380"/>
                    <a:pt x="291" y="318"/>
                  </a:cubicBezTo>
                  <a:cubicBezTo>
                    <a:pt x="291" y="255"/>
                    <a:pt x="319" y="58"/>
                    <a:pt x="319" y="58"/>
                  </a:cubicBezTo>
                  <a:cubicBezTo>
                    <a:pt x="223" y="0"/>
                    <a:pt x="223" y="0"/>
                    <a:pt x="223" y="0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30" y="273"/>
                    <a:pt x="26" y="353"/>
                  </a:cubicBezTo>
                  <a:cubicBezTo>
                    <a:pt x="24" y="410"/>
                    <a:pt x="20" y="460"/>
                    <a:pt x="15" y="526"/>
                  </a:cubicBezTo>
                  <a:cubicBezTo>
                    <a:pt x="15" y="526"/>
                    <a:pt x="0" y="677"/>
                    <a:pt x="22" y="839"/>
                  </a:cubicBezTo>
                  <a:cubicBezTo>
                    <a:pt x="22" y="839"/>
                    <a:pt x="28" y="893"/>
                    <a:pt x="30" y="897"/>
                  </a:cubicBezTo>
                  <a:cubicBezTo>
                    <a:pt x="30" y="899"/>
                    <a:pt x="30" y="900"/>
                    <a:pt x="30" y="900"/>
                  </a:cubicBezTo>
                  <a:cubicBezTo>
                    <a:pt x="31" y="900"/>
                    <a:pt x="31" y="900"/>
                    <a:pt x="31" y="900"/>
                  </a:cubicBezTo>
                  <a:cubicBezTo>
                    <a:pt x="287" y="900"/>
                    <a:pt x="287" y="900"/>
                    <a:pt x="287" y="900"/>
                  </a:cubicBezTo>
                  <a:cubicBezTo>
                    <a:pt x="287" y="807"/>
                    <a:pt x="287" y="807"/>
                    <a:pt x="287" y="807"/>
                  </a:cubicBezTo>
                  <a:cubicBezTo>
                    <a:pt x="296" y="778"/>
                    <a:pt x="304" y="748"/>
                    <a:pt x="311" y="718"/>
                  </a:cubicBezTo>
                  <a:cubicBezTo>
                    <a:pt x="321" y="680"/>
                    <a:pt x="334" y="638"/>
                    <a:pt x="337" y="596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sḷîḍè">
              <a:extLst>
                <a:ext uri="{FF2B5EF4-FFF2-40B4-BE49-F238E27FC236}">
                  <a16:creationId xmlns:a16="http://schemas.microsoft.com/office/drawing/2014/main" id="{A87BAD43-ED63-4629-A7DF-F74FB64F8816}"/>
                </a:ext>
              </a:extLst>
            </p:cNvPr>
            <p:cNvSpPr/>
            <p:nvPr/>
          </p:nvSpPr>
          <p:spPr bwMode="auto">
            <a:xfrm>
              <a:off x="9746992" y="3105994"/>
              <a:ext cx="134758" cy="311090"/>
            </a:xfrm>
            <a:custGeom>
              <a:avLst/>
              <a:gdLst>
                <a:gd name="T0" fmla="*/ 39 w 86"/>
                <a:gd name="T1" fmla="*/ 103 h 201"/>
                <a:gd name="T2" fmla="*/ 58 w 86"/>
                <a:gd name="T3" fmla="*/ 165 h 201"/>
                <a:gd name="T4" fmla="*/ 64 w 86"/>
                <a:gd name="T5" fmla="*/ 191 h 201"/>
                <a:gd name="T6" fmla="*/ 33 w 86"/>
                <a:gd name="T7" fmla="*/ 192 h 201"/>
                <a:gd name="T8" fmla="*/ 24 w 86"/>
                <a:gd name="T9" fmla="*/ 173 h 201"/>
                <a:gd name="T10" fmla="*/ 3 w 86"/>
                <a:gd name="T11" fmla="*/ 70 h 201"/>
                <a:gd name="T12" fmla="*/ 68 w 86"/>
                <a:gd name="T13" fmla="*/ 16 h 201"/>
                <a:gd name="T14" fmla="*/ 80 w 86"/>
                <a:gd name="T15" fmla="*/ 30 h 201"/>
                <a:gd name="T16" fmla="*/ 84 w 86"/>
                <a:gd name="T17" fmla="*/ 40 h 201"/>
                <a:gd name="T18" fmla="*/ 63 w 86"/>
                <a:gd name="T19" fmla="*/ 66 h 201"/>
                <a:gd name="T20" fmla="*/ 39 w 86"/>
                <a:gd name="T21" fmla="*/ 10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201">
                  <a:moveTo>
                    <a:pt x="39" y="103"/>
                  </a:moveTo>
                  <a:cubicBezTo>
                    <a:pt x="34" y="125"/>
                    <a:pt x="47" y="146"/>
                    <a:pt x="58" y="165"/>
                  </a:cubicBezTo>
                  <a:cubicBezTo>
                    <a:pt x="63" y="172"/>
                    <a:pt x="70" y="183"/>
                    <a:pt x="64" y="191"/>
                  </a:cubicBezTo>
                  <a:cubicBezTo>
                    <a:pt x="57" y="201"/>
                    <a:pt x="41" y="199"/>
                    <a:pt x="33" y="192"/>
                  </a:cubicBezTo>
                  <a:cubicBezTo>
                    <a:pt x="28" y="187"/>
                    <a:pt x="26" y="180"/>
                    <a:pt x="24" y="173"/>
                  </a:cubicBezTo>
                  <a:cubicBezTo>
                    <a:pt x="14" y="143"/>
                    <a:pt x="0" y="101"/>
                    <a:pt x="3" y="70"/>
                  </a:cubicBezTo>
                  <a:cubicBezTo>
                    <a:pt x="5" y="45"/>
                    <a:pt x="36" y="0"/>
                    <a:pt x="68" y="16"/>
                  </a:cubicBezTo>
                  <a:cubicBezTo>
                    <a:pt x="73" y="19"/>
                    <a:pt x="77" y="24"/>
                    <a:pt x="80" y="30"/>
                  </a:cubicBezTo>
                  <a:cubicBezTo>
                    <a:pt x="82" y="33"/>
                    <a:pt x="84" y="36"/>
                    <a:pt x="84" y="40"/>
                  </a:cubicBezTo>
                  <a:cubicBezTo>
                    <a:pt x="86" y="54"/>
                    <a:pt x="72" y="58"/>
                    <a:pt x="63" y="66"/>
                  </a:cubicBezTo>
                  <a:cubicBezTo>
                    <a:pt x="51" y="76"/>
                    <a:pt x="43" y="89"/>
                    <a:pt x="39" y="10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işḷîḓè">
              <a:extLst>
                <a:ext uri="{FF2B5EF4-FFF2-40B4-BE49-F238E27FC236}">
                  <a16:creationId xmlns:a16="http://schemas.microsoft.com/office/drawing/2014/main" id="{2D807070-4F30-4747-879D-37E5EA0DAC73}"/>
                </a:ext>
              </a:extLst>
            </p:cNvPr>
            <p:cNvSpPr/>
            <p:nvPr/>
          </p:nvSpPr>
          <p:spPr bwMode="auto">
            <a:xfrm>
              <a:off x="9797167" y="3131799"/>
              <a:ext cx="240843" cy="266648"/>
            </a:xfrm>
            <a:custGeom>
              <a:avLst/>
              <a:gdLst>
                <a:gd name="T0" fmla="*/ 61 w 155"/>
                <a:gd name="T1" fmla="*/ 164 h 172"/>
                <a:gd name="T2" fmla="*/ 12 w 155"/>
                <a:gd name="T3" fmla="*/ 129 h 172"/>
                <a:gd name="T4" fmla="*/ 1 w 155"/>
                <a:gd name="T5" fmla="*/ 70 h 172"/>
                <a:gd name="T6" fmla="*/ 125 w 155"/>
                <a:gd name="T7" fmla="*/ 48 h 172"/>
                <a:gd name="T8" fmla="*/ 61 w 155"/>
                <a:gd name="T9" fmla="*/ 16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172">
                  <a:moveTo>
                    <a:pt x="61" y="164"/>
                  </a:moveTo>
                  <a:cubicBezTo>
                    <a:pt x="39" y="162"/>
                    <a:pt x="22" y="147"/>
                    <a:pt x="12" y="129"/>
                  </a:cubicBezTo>
                  <a:cubicBezTo>
                    <a:pt x="3" y="111"/>
                    <a:pt x="0" y="90"/>
                    <a:pt x="1" y="70"/>
                  </a:cubicBezTo>
                  <a:cubicBezTo>
                    <a:pt x="2" y="3"/>
                    <a:pt x="90" y="0"/>
                    <a:pt x="125" y="48"/>
                  </a:cubicBezTo>
                  <a:cubicBezTo>
                    <a:pt x="155" y="90"/>
                    <a:pt x="122" y="172"/>
                    <a:pt x="61" y="164"/>
                  </a:cubicBez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slîḓé">
              <a:extLst>
                <a:ext uri="{FF2B5EF4-FFF2-40B4-BE49-F238E27FC236}">
                  <a16:creationId xmlns:a16="http://schemas.microsoft.com/office/drawing/2014/main" id="{03D7E413-8F0C-4E31-B2A9-B3D2DE33EED0}"/>
                </a:ext>
              </a:extLst>
            </p:cNvPr>
            <p:cNvSpPr/>
            <p:nvPr/>
          </p:nvSpPr>
          <p:spPr bwMode="auto">
            <a:xfrm>
              <a:off x="9791432" y="3001342"/>
              <a:ext cx="309655" cy="368433"/>
            </a:xfrm>
            <a:custGeom>
              <a:avLst/>
              <a:gdLst>
                <a:gd name="T0" fmla="*/ 125 w 199"/>
                <a:gd name="T1" fmla="*/ 163 h 237"/>
                <a:gd name="T2" fmla="*/ 131 w 199"/>
                <a:gd name="T3" fmla="*/ 188 h 237"/>
                <a:gd name="T4" fmla="*/ 135 w 199"/>
                <a:gd name="T5" fmla="*/ 237 h 237"/>
                <a:gd name="T6" fmla="*/ 181 w 199"/>
                <a:gd name="T7" fmla="*/ 215 h 237"/>
                <a:gd name="T8" fmla="*/ 194 w 199"/>
                <a:gd name="T9" fmla="*/ 172 h 237"/>
                <a:gd name="T10" fmla="*/ 198 w 199"/>
                <a:gd name="T11" fmla="*/ 127 h 237"/>
                <a:gd name="T12" fmla="*/ 39 w 199"/>
                <a:gd name="T13" fmla="*/ 37 h 237"/>
                <a:gd name="T14" fmla="*/ 20 w 199"/>
                <a:gd name="T15" fmla="*/ 110 h 237"/>
                <a:gd name="T16" fmla="*/ 112 w 199"/>
                <a:gd name="T17" fmla="*/ 143 h 237"/>
                <a:gd name="T18" fmla="*/ 125 w 199"/>
                <a:gd name="T19" fmla="*/ 163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9" h="237">
                  <a:moveTo>
                    <a:pt x="125" y="163"/>
                  </a:moveTo>
                  <a:cubicBezTo>
                    <a:pt x="126" y="171"/>
                    <a:pt x="130" y="180"/>
                    <a:pt x="131" y="188"/>
                  </a:cubicBezTo>
                  <a:cubicBezTo>
                    <a:pt x="133" y="204"/>
                    <a:pt x="130" y="223"/>
                    <a:pt x="135" y="237"/>
                  </a:cubicBezTo>
                  <a:cubicBezTo>
                    <a:pt x="151" y="235"/>
                    <a:pt x="170" y="226"/>
                    <a:pt x="181" y="215"/>
                  </a:cubicBezTo>
                  <a:cubicBezTo>
                    <a:pt x="193" y="204"/>
                    <a:pt x="191" y="188"/>
                    <a:pt x="194" y="172"/>
                  </a:cubicBezTo>
                  <a:cubicBezTo>
                    <a:pt x="196" y="157"/>
                    <a:pt x="199" y="142"/>
                    <a:pt x="198" y="127"/>
                  </a:cubicBezTo>
                  <a:cubicBezTo>
                    <a:pt x="194" y="45"/>
                    <a:pt x="112" y="0"/>
                    <a:pt x="39" y="37"/>
                  </a:cubicBezTo>
                  <a:cubicBezTo>
                    <a:pt x="12" y="51"/>
                    <a:pt x="0" y="87"/>
                    <a:pt x="20" y="110"/>
                  </a:cubicBezTo>
                  <a:cubicBezTo>
                    <a:pt x="42" y="135"/>
                    <a:pt x="86" y="124"/>
                    <a:pt x="112" y="143"/>
                  </a:cubicBezTo>
                  <a:cubicBezTo>
                    <a:pt x="117" y="147"/>
                    <a:pt x="122" y="155"/>
                    <a:pt x="125" y="16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ïs1ïḑe">
              <a:extLst>
                <a:ext uri="{FF2B5EF4-FFF2-40B4-BE49-F238E27FC236}">
                  <a16:creationId xmlns:a16="http://schemas.microsoft.com/office/drawing/2014/main" id="{689F5B38-8565-4FB3-8618-6CFC7F4560AA}"/>
                </a:ext>
              </a:extLst>
            </p:cNvPr>
            <p:cNvSpPr/>
            <p:nvPr/>
          </p:nvSpPr>
          <p:spPr bwMode="auto">
            <a:xfrm>
              <a:off x="9888917" y="3352571"/>
              <a:ext cx="73113" cy="63078"/>
            </a:xfrm>
            <a:custGeom>
              <a:avLst/>
              <a:gdLst>
                <a:gd name="T0" fmla="*/ 0 w 47"/>
                <a:gd name="T1" fmla="*/ 15 h 41"/>
                <a:gd name="T2" fmla="*/ 3 w 47"/>
                <a:gd name="T3" fmla="*/ 30 h 41"/>
                <a:gd name="T4" fmla="*/ 5 w 47"/>
                <a:gd name="T5" fmla="*/ 41 h 41"/>
                <a:gd name="T6" fmla="*/ 9 w 47"/>
                <a:gd name="T7" fmla="*/ 41 h 41"/>
                <a:gd name="T8" fmla="*/ 47 w 47"/>
                <a:gd name="T9" fmla="*/ 34 h 41"/>
                <a:gd name="T10" fmla="*/ 43 w 47"/>
                <a:gd name="T11" fmla="*/ 17 h 41"/>
                <a:gd name="T12" fmla="*/ 38 w 47"/>
                <a:gd name="T13" fmla="*/ 0 h 41"/>
                <a:gd name="T14" fmla="*/ 20 w 47"/>
                <a:gd name="T15" fmla="*/ 9 h 41"/>
                <a:gd name="T16" fmla="*/ 0 w 47"/>
                <a:gd name="T17" fmla="*/ 14 h 41"/>
                <a:gd name="T18" fmla="*/ 0 w 47"/>
                <a:gd name="T19" fmla="*/ 1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1">
                  <a:moveTo>
                    <a:pt x="0" y="15"/>
                  </a:moveTo>
                  <a:cubicBezTo>
                    <a:pt x="1" y="20"/>
                    <a:pt x="2" y="25"/>
                    <a:pt x="3" y="30"/>
                  </a:cubicBezTo>
                  <a:cubicBezTo>
                    <a:pt x="4" y="33"/>
                    <a:pt x="3" y="39"/>
                    <a:pt x="5" y="41"/>
                  </a:cubicBezTo>
                  <a:cubicBezTo>
                    <a:pt x="6" y="41"/>
                    <a:pt x="8" y="41"/>
                    <a:pt x="9" y="41"/>
                  </a:cubicBezTo>
                  <a:cubicBezTo>
                    <a:pt x="13" y="41"/>
                    <a:pt x="47" y="36"/>
                    <a:pt x="47" y="34"/>
                  </a:cubicBezTo>
                  <a:cubicBezTo>
                    <a:pt x="46" y="28"/>
                    <a:pt x="45" y="23"/>
                    <a:pt x="43" y="17"/>
                  </a:cubicBezTo>
                  <a:cubicBezTo>
                    <a:pt x="42" y="12"/>
                    <a:pt x="41" y="4"/>
                    <a:pt x="38" y="0"/>
                  </a:cubicBezTo>
                  <a:cubicBezTo>
                    <a:pt x="33" y="4"/>
                    <a:pt x="26" y="7"/>
                    <a:pt x="20" y="9"/>
                  </a:cubicBezTo>
                  <a:cubicBezTo>
                    <a:pt x="13" y="11"/>
                    <a:pt x="6" y="13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íṡlïḑê">
              <a:extLst>
                <a:ext uri="{FF2B5EF4-FFF2-40B4-BE49-F238E27FC236}">
                  <a16:creationId xmlns:a16="http://schemas.microsoft.com/office/drawing/2014/main" id="{62C8EFCA-BCE5-46B0-8338-A223FA70AE9C}"/>
                </a:ext>
              </a:extLst>
            </p:cNvPr>
            <p:cNvSpPr/>
            <p:nvPr/>
          </p:nvSpPr>
          <p:spPr bwMode="auto">
            <a:xfrm>
              <a:off x="9058868" y="3200610"/>
              <a:ext cx="854421" cy="993479"/>
            </a:xfrm>
            <a:custGeom>
              <a:avLst/>
              <a:gdLst>
                <a:gd name="T0" fmla="*/ 202 w 550"/>
                <a:gd name="T1" fmla="*/ 636 h 640"/>
                <a:gd name="T2" fmla="*/ 535 w 550"/>
                <a:gd name="T3" fmla="*/ 513 h 640"/>
                <a:gd name="T4" fmla="*/ 546 w 550"/>
                <a:gd name="T5" fmla="*/ 487 h 640"/>
                <a:gd name="T6" fmla="*/ 373 w 550"/>
                <a:gd name="T7" fmla="*/ 17 h 640"/>
                <a:gd name="T8" fmla="*/ 348 w 550"/>
                <a:gd name="T9" fmla="*/ 4 h 640"/>
                <a:gd name="T10" fmla="*/ 15 w 550"/>
                <a:gd name="T11" fmla="*/ 127 h 640"/>
                <a:gd name="T12" fmla="*/ 4 w 550"/>
                <a:gd name="T13" fmla="*/ 153 h 640"/>
                <a:gd name="T14" fmla="*/ 177 w 550"/>
                <a:gd name="T15" fmla="*/ 623 h 640"/>
                <a:gd name="T16" fmla="*/ 202 w 550"/>
                <a:gd name="T17" fmla="*/ 636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0" h="640">
                  <a:moveTo>
                    <a:pt x="202" y="636"/>
                  </a:moveTo>
                  <a:cubicBezTo>
                    <a:pt x="535" y="513"/>
                    <a:pt x="535" y="513"/>
                    <a:pt x="535" y="513"/>
                  </a:cubicBezTo>
                  <a:cubicBezTo>
                    <a:pt x="545" y="510"/>
                    <a:pt x="550" y="498"/>
                    <a:pt x="546" y="487"/>
                  </a:cubicBezTo>
                  <a:cubicBezTo>
                    <a:pt x="373" y="17"/>
                    <a:pt x="373" y="17"/>
                    <a:pt x="373" y="17"/>
                  </a:cubicBezTo>
                  <a:cubicBezTo>
                    <a:pt x="369" y="6"/>
                    <a:pt x="358" y="0"/>
                    <a:pt x="348" y="4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5" y="130"/>
                    <a:pt x="0" y="142"/>
                    <a:pt x="4" y="153"/>
                  </a:cubicBezTo>
                  <a:cubicBezTo>
                    <a:pt x="177" y="623"/>
                    <a:pt x="177" y="623"/>
                    <a:pt x="177" y="623"/>
                  </a:cubicBezTo>
                  <a:cubicBezTo>
                    <a:pt x="181" y="634"/>
                    <a:pt x="192" y="640"/>
                    <a:pt x="202" y="636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ṧḷíḍé">
              <a:extLst>
                <a:ext uri="{FF2B5EF4-FFF2-40B4-BE49-F238E27FC236}">
                  <a16:creationId xmlns:a16="http://schemas.microsoft.com/office/drawing/2014/main" id="{500CAAEB-D32E-4F5C-8329-F6570638C3BE}"/>
                </a:ext>
              </a:extLst>
            </p:cNvPr>
            <p:cNvSpPr/>
            <p:nvPr/>
          </p:nvSpPr>
          <p:spPr bwMode="auto">
            <a:xfrm>
              <a:off x="9481777" y="3505966"/>
              <a:ext cx="225074" cy="230809"/>
            </a:xfrm>
            <a:custGeom>
              <a:avLst/>
              <a:gdLst>
                <a:gd name="T0" fmla="*/ 50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09 w 145"/>
                <a:gd name="T7" fmla="*/ 9 h 148"/>
                <a:gd name="T8" fmla="*/ 96 w 145"/>
                <a:gd name="T9" fmla="*/ 2 h 148"/>
                <a:gd name="T10" fmla="*/ 8 w 145"/>
                <a:gd name="T11" fmla="*/ 34 h 148"/>
                <a:gd name="T12" fmla="*/ 2 w 145"/>
                <a:gd name="T13" fmla="*/ 48 h 148"/>
                <a:gd name="T14" fmla="*/ 36 w 145"/>
                <a:gd name="T15" fmla="*/ 139 h 148"/>
                <a:gd name="T16" fmla="*/ 50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50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2" y="112"/>
                    <a:pt x="145" y="106"/>
                    <a:pt x="143" y="100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7" y="3"/>
                    <a:pt x="101" y="0"/>
                    <a:pt x="96" y="2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3" y="36"/>
                    <a:pt x="0" y="42"/>
                    <a:pt x="2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50" y="146"/>
                  </a:cubicBezTo>
                  <a:close/>
                </a:path>
              </a:pathLst>
            </a:custGeom>
            <a:solidFill>
              <a:srgbClr val="EED5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ṥḻiďè">
              <a:extLst>
                <a:ext uri="{FF2B5EF4-FFF2-40B4-BE49-F238E27FC236}">
                  <a16:creationId xmlns:a16="http://schemas.microsoft.com/office/drawing/2014/main" id="{B8008D7D-B32C-46DF-92A6-2A3BBFE1252F}"/>
                </a:ext>
              </a:extLst>
            </p:cNvPr>
            <p:cNvSpPr/>
            <p:nvPr/>
          </p:nvSpPr>
          <p:spPr bwMode="auto">
            <a:xfrm>
              <a:off x="9230899" y="3597715"/>
              <a:ext cx="225074" cy="230809"/>
            </a:xfrm>
            <a:custGeom>
              <a:avLst/>
              <a:gdLst>
                <a:gd name="T0" fmla="*/ 50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10 w 145"/>
                <a:gd name="T7" fmla="*/ 9 h 148"/>
                <a:gd name="T8" fmla="*/ 96 w 145"/>
                <a:gd name="T9" fmla="*/ 2 h 148"/>
                <a:gd name="T10" fmla="*/ 9 w 145"/>
                <a:gd name="T11" fmla="*/ 34 h 148"/>
                <a:gd name="T12" fmla="*/ 3 w 145"/>
                <a:gd name="T13" fmla="*/ 48 h 148"/>
                <a:gd name="T14" fmla="*/ 36 w 145"/>
                <a:gd name="T15" fmla="*/ 139 h 148"/>
                <a:gd name="T16" fmla="*/ 50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50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3" y="112"/>
                    <a:pt x="145" y="106"/>
                    <a:pt x="143" y="100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07" y="3"/>
                    <a:pt x="101" y="0"/>
                    <a:pt x="96" y="2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3" y="36"/>
                    <a:pt x="0" y="42"/>
                    <a:pt x="3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50" y="146"/>
                  </a:cubicBezTo>
                  <a:close/>
                </a:path>
              </a:pathLst>
            </a:custGeom>
            <a:solidFill>
              <a:srgbClr val="EED5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iṣľïḑe">
              <a:extLst>
                <a:ext uri="{FF2B5EF4-FFF2-40B4-BE49-F238E27FC236}">
                  <a16:creationId xmlns:a16="http://schemas.microsoft.com/office/drawing/2014/main" id="{71937FAD-454F-4702-982D-6968DFEAA3BB}"/>
                </a:ext>
              </a:extLst>
            </p:cNvPr>
            <p:cNvSpPr/>
            <p:nvPr/>
          </p:nvSpPr>
          <p:spPr bwMode="auto">
            <a:xfrm>
              <a:off x="9566360" y="3738208"/>
              <a:ext cx="226507" cy="229374"/>
            </a:xfrm>
            <a:custGeom>
              <a:avLst/>
              <a:gdLst>
                <a:gd name="T0" fmla="*/ 49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09 w 145"/>
                <a:gd name="T7" fmla="*/ 9 h 148"/>
                <a:gd name="T8" fmla="*/ 95 w 145"/>
                <a:gd name="T9" fmla="*/ 2 h 148"/>
                <a:gd name="T10" fmla="*/ 8 w 145"/>
                <a:gd name="T11" fmla="*/ 34 h 148"/>
                <a:gd name="T12" fmla="*/ 2 w 145"/>
                <a:gd name="T13" fmla="*/ 48 h 148"/>
                <a:gd name="T14" fmla="*/ 36 w 145"/>
                <a:gd name="T15" fmla="*/ 139 h 148"/>
                <a:gd name="T16" fmla="*/ 49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49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2" y="112"/>
                    <a:pt x="145" y="106"/>
                    <a:pt x="143" y="100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7" y="3"/>
                    <a:pt x="101" y="0"/>
                    <a:pt x="95" y="2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3" y="36"/>
                    <a:pt x="0" y="42"/>
                    <a:pt x="2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49" y="146"/>
                  </a:cubicBezTo>
                  <a:close/>
                </a:path>
              </a:pathLst>
            </a:custGeom>
            <a:solidFill>
              <a:srgbClr val="EED5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ïsľiḓé">
              <a:extLst>
                <a:ext uri="{FF2B5EF4-FFF2-40B4-BE49-F238E27FC236}">
                  <a16:creationId xmlns:a16="http://schemas.microsoft.com/office/drawing/2014/main" id="{474F4264-38B9-4797-B097-CF081A57310A}"/>
                </a:ext>
              </a:extLst>
            </p:cNvPr>
            <p:cNvSpPr/>
            <p:nvPr/>
          </p:nvSpPr>
          <p:spPr bwMode="auto">
            <a:xfrm>
              <a:off x="9316914" y="3829957"/>
              <a:ext cx="225074" cy="229374"/>
            </a:xfrm>
            <a:custGeom>
              <a:avLst/>
              <a:gdLst>
                <a:gd name="T0" fmla="*/ 50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09 w 145"/>
                <a:gd name="T7" fmla="*/ 9 h 148"/>
                <a:gd name="T8" fmla="*/ 96 w 145"/>
                <a:gd name="T9" fmla="*/ 2 h 148"/>
                <a:gd name="T10" fmla="*/ 8 w 145"/>
                <a:gd name="T11" fmla="*/ 34 h 148"/>
                <a:gd name="T12" fmla="*/ 2 w 145"/>
                <a:gd name="T13" fmla="*/ 48 h 148"/>
                <a:gd name="T14" fmla="*/ 36 w 145"/>
                <a:gd name="T15" fmla="*/ 139 h 148"/>
                <a:gd name="T16" fmla="*/ 50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50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2" y="112"/>
                    <a:pt x="145" y="106"/>
                    <a:pt x="143" y="100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7" y="3"/>
                    <a:pt x="101" y="0"/>
                    <a:pt x="96" y="2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3" y="36"/>
                    <a:pt x="0" y="42"/>
                    <a:pt x="2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50" y="146"/>
                  </a:cubicBezTo>
                  <a:close/>
                </a:path>
              </a:pathLst>
            </a:custGeom>
            <a:solidFill>
              <a:srgbClr val="5D66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Sľíḍe">
              <a:extLst>
                <a:ext uri="{FF2B5EF4-FFF2-40B4-BE49-F238E27FC236}">
                  <a16:creationId xmlns:a16="http://schemas.microsoft.com/office/drawing/2014/main" id="{9FD2C9F3-646E-4073-859C-324B5327D222}"/>
                </a:ext>
              </a:extLst>
            </p:cNvPr>
            <p:cNvSpPr/>
            <p:nvPr/>
          </p:nvSpPr>
          <p:spPr bwMode="auto">
            <a:xfrm>
              <a:off x="9539121" y="3561876"/>
              <a:ext cx="111820" cy="123289"/>
            </a:xfrm>
            <a:custGeom>
              <a:avLst/>
              <a:gdLst>
                <a:gd name="T0" fmla="*/ 19 w 72"/>
                <a:gd name="T1" fmla="*/ 8 h 79"/>
                <a:gd name="T2" fmla="*/ 19 w 72"/>
                <a:gd name="T3" fmla="*/ 4 h 79"/>
                <a:gd name="T4" fmla="*/ 22 w 72"/>
                <a:gd name="T5" fmla="*/ 1 h 79"/>
                <a:gd name="T6" fmla="*/ 26 w 72"/>
                <a:gd name="T7" fmla="*/ 1 h 79"/>
                <a:gd name="T8" fmla="*/ 29 w 72"/>
                <a:gd name="T9" fmla="*/ 5 h 79"/>
                <a:gd name="T10" fmla="*/ 39 w 72"/>
                <a:gd name="T11" fmla="*/ 32 h 79"/>
                <a:gd name="T12" fmla="*/ 64 w 72"/>
                <a:gd name="T13" fmla="*/ 23 h 79"/>
                <a:gd name="T14" fmla="*/ 68 w 72"/>
                <a:gd name="T15" fmla="*/ 23 h 79"/>
                <a:gd name="T16" fmla="*/ 71 w 72"/>
                <a:gd name="T17" fmla="*/ 26 h 79"/>
                <a:gd name="T18" fmla="*/ 71 w 72"/>
                <a:gd name="T19" fmla="*/ 31 h 79"/>
                <a:gd name="T20" fmla="*/ 68 w 72"/>
                <a:gd name="T21" fmla="*/ 34 h 79"/>
                <a:gd name="T22" fmla="*/ 43 w 72"/>
                <a:gd name="T23" fmla="*/ 43 h 79"/>
                <a:gd name="T24" fmla="*/ 53 w 72"/>
                <a:gd name="T25" fmla="*/ 70 h 79"/>
                <a:gd name="T26" fmla="*/ 53 w 72"/>
                <a:gd name="T27" fmla="*/ 75 h 79"/>
                <a:gd name="T28" fmla="*/ 50 w 72"/>
                <a:gd name="T29" fmla="*/ 78 h 79"/>
                <a:gd name="T30" fmla="*/ 46 w 72"/>
                <a:gd name="T31" fmla="*/ 78 h 79"/>
                <a:gd name="T32" fmla="*/ 43 w 72"/>
                <a:gd name="T33" fmla="*/ 74 h 79"/>
                <a:gd name="T34" fmla="*/ 33 w 72"/>
                <a:gd name="T35" fmla="*/ 47 h 79"/>
                <a:gd name="T36" fmla="*/ 8 w 72"/>
                <a:gd name="T37" fmla="*/ 56 h 79"/>
                <a:gd name="T38" fmla="*/ 4 w 72"/>
                <a:gd name="T39" fmla="*/ 56 h 79"/>
                <a:gd name="T40" fmla="*/ 1 w 72"/>
                <a:gd name="T41" fmla="*/ 52 h 79"/>
                <a:gd name="T42" fmla="*/ 1 w 72"/>
                <a:gd name="T43" fmla="*/ 48 h 79"/>
                <a:gd name="T44" fmla="*/ 4 w 72"/>
                <a:gd name="T45" fmla="*/ 45 h 79"/>
                <a:gd name="T46" fmla="*/ 29 w 72"/>
                <a:gd name="T47" fmla="*/ 36 h 79"/>
                <a:gd name="T48" fmla="*/ 19 w 72"/>
                <a:gd name="T49" fmla="*/ 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79">
                  <a:moveTo>
                    <a:pt x="19" y="8"/>
                  </a:moveTo>
                  <a:cubicBezTo>
                    <a:pt x="18" y="7"/>
                    <a:pt x="18" y="5"/>
                    <a:pt x="19" y="4"/>
                  </a:cubicBezTo>
                  <a:cubicBezTo>
                    <a:pt x="19" y="2"/>
                    <a:pt x="20" y="1"/>
                    <a:pt x="22" y="1"/>
                  </a:cubicBezTo>
                  <a:cubicBezTo>
                    <a:pt x="23" y="0"/>
                    <a:pt x="25" y="0"/>
                    <a:pt x="26" y="1"/>
                  </a:cubicBezTo>
                  <a:cubicBezTo>
                    <a:pt x="27" y="2"/>
                    <a:pt x="28" y="3"/>
                    <a:pt x="29" y="5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2"/>
                    <a:pt x="67" y="22"/>
                    <a:pt x="68" y="23"/>
                  </a:cubicBezTo>
                  <a:cubicBezTo>
                    <a:pt x="70" y="24"/>
                    <a:pt x="71" y="25"/>
                    <a:pt x="71" y="26"/>
                  </a:cubicBezTo>
                  <a:cubicBezTo>
                    <a:pt x="72" y="28"/>
                    <a:pt x="72" y="29"/>
                    <a:pt x="71" y="31"/>
                  </a:cubicBezTo>
                  <a:cubicBezTo>
                    <a:pt x="70" y="32"/>
                    <a:pt x="69" y="33"/>
                    <a:pt x="68" y="34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4" y="72"/>
                    <a:pt x="54" y="73"/>
                    <a:pt x="53" y="75"/>
                  </a:cubicBezTo>
                  <a:cubicBezTo>
                    <a:pt x="53" y="76"/>
                    <a:pt x="52" y="78"/>
                    <a:pt x="50" y="78"/>
                  </a:cubicBezTo>
                  <a:cubicBezTo>
                    <a:pt x="49" y="79"/>
                    <a:pt x="47" y="79"/>
                    <a:pt x="46" y="78"/>
                  </a:cubicBezTo>
                  <a:cubicBezTo>
                    <a:pt x="45" y="77"/>
                    <a:pt x="44" y="76"/>
                    <a:pt x="43" y="74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7" y="56"/>
                    <a:pt x="5" y="56"/>
                    <a:pt x="4" y="56"/>
                  </a:cubicBezTo>
                  <a:cubicBezTo>
                    <a:pt x="2" y="55"/>
                    <a:pt x="1" y="54"/>
                    <a:pt x="1" y="52"/>
                  </a:cubicBezTo>
                  <a:cubicBezTo>
                    <a:pt x="0" y="51"/>
                    <a:pt x="0" y="49"/>
                    <a:pt x="1" y="48"/>
                  </a:cubicBezTo>
                  <a:cubicBezTo>
                    <a:pt x="2" y="46"/>
                    <a:pt x="3" y="45"/>
                    <a:pt x="4" y="45"/>
                  </a:cubicBezTo>
                  <a:cubicBezTo>
                    <a:pt x="29" y="36"/>
                    <a:pt x="29" y="36"/>
                    <a:pt x="29" y="36"/>
                  </a:cubicBezTo>
                  <a:lnTo>
                    <a:pt x="19" y="8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isľïḋe">
              <a:extLst>
                <a:ext uri="{FF2B5EF4-FFF2-40B4-BE49-F238E27FC236}">
                  <a16:creationId xmlns:a16="http://schemas.microsoft.com/office/drawing/2014/main" id="{D80E223A-3738-44DE-BBCC-F03B5D3B295C}"/>
                </a:ext>
              </a:extLst>
            </p:cNvPr>
            <p:cNvSpPr/>
            <p:nvPr/>
          </p:nvSpPr>
          <p:spPr bwMode="auto">
            <a:xfrm>
              <a:off x="9291110" y="3688031"/>
              <a:ext cx="104652" cy="54476"/>
            </a:xfrm>
            <a:custGeom>
              <a:avLst/>
              <a:gdLst>
                <a:gd name="T0" fmla="*/ 8 w 67"/>
                <a:gd name="T1" fmla="*/ 35 h 35"/>
                <a:gd name="T2" fmla="*/ 5 w 67"/>
                <a:gd name="T3" fmla="*/ 35 h 35"/>
                <a:gd name="T4" fmla="*/ 4 w 67"/>
                <a:gd name="T5" fmla="*/ 33 h 35"/>
                <a:gd name="T6" fmla="*/ 1 w 67"/>
                <a:gd name="T7" fmla="*/ 25 h 35"/>
                <a:gd name="T8" fmla="*/ 1 w 67"/>
                <a:gd name="T9" fmla="*/ 23 h 35"/>
                <a:gd name="T10" fmla="*/ 3 w 67"/>
                <a:gd name="T11" fmla="*/ 21 h 35"/>
                <a:gd name="T12" fmla="*/ 59 w 67"/>
                <a:gd name="T13" fmla="*/ 0 h 35"/>
                <a:gd name="T14" fmla="*/ 62 w 67"/>
                <a:gd name="T15" fmla="*/ 0 h 35"/>
                <a:gd name="T16" fmla="*/ 63 w 67"/>
                <a:gd name="T17" fmla="*/ 2 h 35"/>
                <a:gd name="T18" fmla="*/ 66 w 67"/>
                <a:gd name="T19" fmla="*/ 10 h 35"/>
                <a:gd name="T20" fmla="*/ 67 w 67"/>
                <a:gd name="T21" fmla="*/ 13 h 35"/>
                <a:gd name="T22" fmla="*/ 65 w 67"/>
                <a:gd name="T23" fmla="*/ 14 h 35"/>
                <a:gd name="T24" fmla="*/ 8 w 67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35">
                  <a:moveTo>
                    <a:pt x="8" y="35"/>
                  </a:moveTo>
                  <a:cubicBezTo>
                    <a:pt x="7" y="35"/>
                    <a:pt x="6" y="35"/>
                    <a:pt x="5" y="35"/>
                  </a:cubicBezTo>
                  <a:cubicBezTo>
                    <a:pt x="4" y="34"/>
                    <a:pt x="4" y="34"/>
                    <a:pt x="4" y="33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4"/>
                    <a:pt x="0" y="23"/>
                    <a:pt x="1" y="23"/>
                  </a:cubicBezTo>
                  <a:cubicBezTo>
                    <a:pt x="1" y="22"/>
                    <a:pt x="2" y="21"/>
                    <a:pt x="3" y="2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1" y="0"/>
                    <a:pt x="62" y="0"/>
                  </a:cubicBezTo>
                  <a:cubicBezTo>
                    <a:pt x="63" y="0"/>
                    <a:pt x="63" y="1"/>
                    <a:pt x="63" y="2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7" y="11"/>
                    <a:pt x="67" y="12"/>
                    <a:pt x="67" y="13"/>
                  </a:cubicBezTo>
                  <a:cubicBezTo>
                    <a:pt x="66" y="13"/>
                    <a:pt x="66" y="14"/>
                    <a:pt x="65" y="14"/>
                  </a:cubicBezTo>
                  <a:lnTo>
                    <a:pt x="8" y="35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î$ḷïde">
              <a:extLst>
                <a:ext uri="{FF2B5EF4-FFF2-40B4-BE49-F238E27FC236}">
                  <a16:creationId xmlns:a16="http://schemas.microsoft.com/office/drawing/2014/main" id="{3089BF15-523C-424A-84E7-7F518C83376E}"/>
                </a:ext>
              </a:extLst>
            </p:cNvPr>
            <p:cNvSpPr/>
            <p:nvPr/>
          </p:nvSpPr>
          <p:spPr bwMode="auto">
            <a:xfrm>
              <a:off x="9365657" y="3887301"/>
              <a:ext cx="104652" cy="54476"/>
            </a:xfrm>
            <a:custGeom>
              <a:avLst/>
              <a:gdLst>
                <a:gd name="T0" fmla="*/ 8 w 67"/>
                <a:gd name="T1" fmla="*/ 35 h 35"/>
                <a:gd name="T2" fmla="*/ 5 w 67"/>
                <a:gd name="T3" fmla="*/ 35 h 35"/>
                <a:gd name="T4" fmla="*/ 4 w 67"/>
                <a:gd name="T5" fmla="*/ 33 h 35"/>
                <a:gd name="T6" fmla="*/ 1 w 67"/>
                <a:gd name="T7" fmla="*/ 25 h 35"/>
                <a:gd name="T8" fmla="*/ 1 w 67"/>
                <a:gd name="T9" fmla="*/ 22 h 35"/>
                <a:gd name="T10" fmla="*/ 3 w 67"/>
                <a:gd name="T11" fmla="*/ 21 h 35"/>
                <a:gd name="T12" fmla="*/ 59 w 67"/>
                <a:gd name="T13" fmla="*/ 0 h 35"/>
                <a:gd name="T14" fmla="*/ 62 w 67"/>
                <a:gd name="T15" fmla="*/ 0 h 35"/>
                <a:gd name="T16" fmla="*/ 64 w 67"/>
                <a:gd name="T17" fmla="*/ 2 h 35"/>
                <a:gd name="T18" fmla="*/ 66 w 67"/>
                <a:gd name="T19" fmla="*/ 10 h 35"/>
                <a:gd name="T20" fmla="*/ 67 w 67"/>
                <a:gd name="T21" fmla="*/ 12 h 35"/>
                <a:gd name="T22" fmla="*/ 65 w 67"/>
                <a:gd name="T23" fmla="*/ 14 h 35"/>
                <a:gd name="T24" fmla="*/ 8 w 67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35">
                  <a:moveTo>
                    <a:pt x="8" y="35"/>
                  </a:moveTo>
                  <a:cubicBezTo>
                    <a:pt x="7" y="35"/>
                    <a:pt x="6" y="35"/>
                    <a:pt x="5" y="35"/>
                  </a:cubicBezTo>
                  <a:cubicBezTo>
                    <a:pt x="4" y="34"/>
                    <a:pt x="4" y="34"/>
                    <a:pt x="4" y="33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4"/>
                    <a:pt x="0" y="23"/>
                    <a:pt x="1" y="22"/>
                  </a:cubicBezTo>
                  <a:cubicBezTo>
                    <a:pt x="1" y="22"/>
                    <a:pt x="2" y="21"/>
                    <a:pt x="3" y="2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1" y="0"/>
                    <a:pt x="62" y="0"/>
                  </a:cubicBezTo>
                  <a:cubicBezTo>
                    <a:pt x="63" y="0"/>
                    <a:pt x="63" y="1"/>
                    <a:pt x="64" y="2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7" y="11"/>
                    <a:pt x="67" y="12"/>
                    <a:pt x="67" y="12"/>
                  </a:cubicBezTo>
                  <a:cubicBezTo>
                    <a:pt x="66" y="13"/>
                    <a:pt x="66" y="14"/>
                    <a:pt x="65" y="14"/>
                  </a:cubicBezTo>
                  <a:lnTo>
                    <a:pt x="8" y="35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îṧlîḓê">
              <a:extLst>
                <a:ext uri="{FF2B5EF4-FFF2-40B4-BE49-F238E27FC236}">
                  <a16:creationId xmlns:a16="http://schemas.microsoft.com/office/drawing/2014/main" id="{3AAF3ADC-2807-4598-890B-C4D6C4A5858E}"/>
                </a:ext>
              </a:extLst>
            </p:cNvPr>
            <p:cNvSpPr/>
            <p:nvPr/>
          </p:nvSpPr>
          <p:spPr bwMode="auto">
            <a:xfrm>
              <a:off x="9382860" y="3930309"/>
              <a:ext cx="103219" cy="55911"/>
            </a:xfrm>
            <a:custGeom>
              <a:avLst/>
              <a:gdLst>
                <a:gd name="T0" fmla="*/ 8 w 66"/>
                <a:gd name="T1" fmla="*/ 35 h 36"/>
                <a:gd name="T2" fmla="*/ 5 w 66"/>
                <a:gd name="T3" fmla="*/ 35 h 36"/>
                <a:gd name="T4" fmla="*/ 3 w 66"/>
                <a:gd name="T5" fmla="*/ 33 h 36"/>
                <a:gd name="T6" fmla="*/ 0 w 66"/>
                <a:gd name="T7" fmla="*/ 25 h 36"/>
                <a:gd name="T8" fmla="*/ 0 w 66"/>
                <a:gd name="T9" fmla="*/ 23 h 36"/>
                <a:gd name="T10" fmla="*/ 2 w 66"/>
                <a:gd name="T11" fmla="*/ 21 h 36"/>
                <a:gd name="T12" fmla="*/ 59 w 66"/>
                <a:gd name="T13" fmla="*/ 0 h 36"/>
                <a:gd name="T14" fmla="*/ 61 w 66"/>
                <a:gd name="T15" fmla="*/ 0 h 36"/>
                <a:gd name="T16" fmla="*/ 63 w 66"/>
                <a:gd name="T17" fmla="*/ 2 h 36"/>
                <a:gd name="T18" fmla="*/ 66 w 66"/>
                <a:gd name="T19" fmla="*/ 10 h 36"/>
                <a:gd name="T20" fmla="*/ 66 w 66"/>
                <a:gd name="T21" fmla="*/ 13 h 36"/>
                <a:gd name="T22" fmla="*/ 64 w 66"/>
                <a:gd name="T23" fmla="*/ 15 h 36"/>
                <a:gd name="T24" fmla="*/ 8 w 66"/>
                <a:gd name="T25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36">
                  <a:moveTo>
                    <a:pt x="8" y="35"/>
                  </a:moveTo>
                  <a:cubicBezTo>
                    <a:pt x="7" y="36"/>
                    <a:pt x="6" y="36"/>
                    <a:pt x="5" y="35"/>
                  </a:cubicBezTo>
                  <a:cubicBezTo>
                    <a:pt x="4" y="35"/>
                    <a:pt x="3" y="34"/>
                    <a:pt x="3" y="3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4"/>
                    <a:pt x="0" y="24"/>
                    <a:pt x="0" y="23"/>
                  </a:cubicBezTo>
                  <a:cubicBezTo>
                    <a:pt x="1" y="22"/>
                    <a:pt x="1" y="22"/>
                    <a:pt x="2" y="2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1" y="0"/>
                    <a:pt x="61" y="0"/>
                  </a:cubicBezTo>
                  <a:cubicBezTo>
                    <a:pt x="62" y="1"/>
                    <a:pt x="63" y="1"/>
                    <a:pt x="63" y="2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11"/>
                    <a:pt x="66" y="12"/>
                    <a:pt x="66" y="13"/>
                  </a:cubicBezTo>
                  <a:cubicBezTo>
                    <a:pt x="66" y="14"/>
                    <a:pt x="65" y="14"/>
                    <a:pt x="64" y="15"/>
                  </a:cubicBezTo>
                  <a:lnTo>
                    <a:pt x="8" y="35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ïṩḷidè">
              <a:extLst>
                <a:ext uri="{FF2B5EF4-FFF2-40B4-BE49-F238E27FC236}">
                  <a16:creationId xmlns:a16="http://schemas.microsoft.com/office/drawing/2014/main" id="{4AE6D22B-7699-4AFE-90F4-BE8CC648F802}"/>
                </a:ext>
              </a:extLst>
            </p:cNvPr>
            <p:cNvSpPr/>
            <p:nvPr/>
          </p:nvSpPr>
          <p:spPr bwMode="auto">
            <a:xfrm>
              <a:off x="9626570" y="3819922"/>
              <a:ext cx="103219" cy="55911"/>
            </a:xfrm>
            <a:custGeom>
              <a:avLst/>
              <a:gdLst>
                <a:gd name="T0" fmla="*/ 8 w 67"/>
                <a:gd name="T1" fmla="*/ 36 h 36"/>
                <a:gd name="T2" fmla="*/ 5 w 67"/>
                <a:gd name="T3" fmla="*/ 36 h 36"/>
                <a:gd name="T4" fmla="*/ 3 w 67"/>
                <a:gd name="T5" fmla="*/ 34 h 36"/>
                <a:gd name="T6" fmla="*/ 0 w 67"/>
                <a:gd name="T7" fmla="*/ 26 h 36"/>
                <a:gd name="T8" fmla="*/ 0 w 67"/>
                <a:gd name="T9" fmla="*/ 23 h 36"/>
                <a:gd name="T10" fmla="*/ 3 w 67"/>
                <a:gd name="T11" fmla="*/ 22 h 36"/>
                <a:gd name="T12" fmla="*/ 59 w 67"/>
                <a:gd name="T13" fmla="*/ 1 h 36"/>
                <a:gd name="T14" fmla="*/ 62 w 67"/>
                <a:gd name="T15" fmla="*/ 1 h 36"/>
                <a:gd name="T16" fmla="*/ 63 w 67"/>
                <a:gd name="T17" fmla="*/ 3 h 36"/>
                <a:gd name="T18" fmla="*/ 66 w 67"/>
                <a:gd name="T19" fmla="*/ 10 h 36"/>
                <a:gd name="T20" fmla="*/ 66 w 67"/>
                <a:gd name="T21" fmla="*/ 13 h 36"/>
                <a:gd name="T22" fmla="*/ 64 w 67"/>
                <a:gd name="T23" fmla="*/ 15 h 36"/>
                <a:gd name="T24" fmla="*/ 8 w 67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36">
                  <a:moveTo>
                    <a:pt x="8" y="36"/>
                  </a:moveTo>
                  <a:cubicBezTo>
                    <a:pt x="7" y="36"/>
                    <a:pt x="6" y="36"/>
                    <a:pt x="5" y="36"/>
                  </a:cubicBezTo>
                  <a:cubicBezTo>
                    <a:pt x="4" y="35"/>
                    <a:pt x="4" y="34"/>
                    <a:pt x="3" y="3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4"/>
                    <a:pt x="0" y="23"/>
                  </a:cubicBezTo>
                  <a:cubicBezTo>
                    <a:pt x="1" y="22"/>
                    <a:pt x="2" y="22"/>
                    <a:pt x="3" y="22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0"/>
                    <a:pt x="61" y="0"/>
                    <a:pt x="62" y="1"/>
                  </a:cubicBezTo>
                  <a:cubicBezTo>
                    <a:pt x="62" y="1"/>
                    <a:pt x="63" y="2"/>
                    <a:pt x="63" y="3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11"/>
                    <a:pt x="67" y="12"/>
                    <a:pt x="66" y="13"/>
                  </a:cubicBezTo>
                  <a:cubicBezTo>
                    <a:pt x="66" y="14"/>
                    <a:pt x="65" y="15"/>
                    <a:pt x="64" y="15"/>
                  </a:cubicBezTo>
                  <a:lnTo>
                    <a:pt x="8" y="36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ś1iḋè">
              <a:extLst>
                <a:ext uri="{FF2B5EF4-FFF2-40B4-BE49-F238E27FC236}">
                  <a16:creationId xmlns:a16="http://schemas.microsoft.com/office/drawing/2014/main" id="{7D1CD80F-1AAC-43C5-AC0A-4CAFE096E0B7}"/>
                </a:ext>
              </a:extLst>
            </p:cNvPr>
            <p:cNvSpPr/>
            <p:nvPr/>
          </p:nvSpPr>
          <p:spPr bwMode="auto">
            <a:xfrm>
              <a:off x="9653808" y="3805586"/>
              <a:ext cx="28672" cy="28672"/>
            </a:xfrm>
            <a:custGeom>
              <a:avLst/>
              <a:gdLst>
                <a:gd name="T0" fmla="*/ 1 w 18"/>
                <a:gd name="T1" fmla="*/ 12 h 18"/>
                <a:gd name="T2" fmla="*/ 12 w 18"/>
                <a:gd name="T3" fmla="*/ 17 h 18"/>
                <a:gd name="T4" fmla="*/ 16 w 18"/>
                <a:gd name="T5" fmla="*/ 6 h 18"/>
                <a:gd name="T6" fmla="*/ 6 w 18"/>
                <a:gd name="T7" fmla="*/ 1 h 18"/>
                <a:gd name="T8" fmla="*/ 1 w 18"/>
                <a:gd name="T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" y="12"/>
                  </a:moveTo>
                  <a:cubicBezTo>
                    <a:pt x="3" y="16"/>
                    <a:pt x="7" y="18"/>
                    <a:pt x="12" y="17"/>
                  </a:cubicBezTo>
                  <a:cubicBezTo>
                    <a:pt x="16" y="15"/>
                    <a:pt x="18" y="11"/>
                    <a:pt x="16" y="6"/>
                  </a:cubicBezTo>
                  <a:cubicBezTo>
                    <a:pt x="14" y="2"/>
                    <a:pt x="10" y="0"/>
                    <a:pt x="6" y="1"/>
                  </a:cubicBezTo>
                  <a:cubicBezTo>
                    <a:pt x="2" y="3"/>
                    <a:pt x="0" y="7"/>
                    <a:pt x="1" y="12"/>
                  </a:cubicBez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işlïďé">
              <a:extLst>
                <a:ext uri="{FF2B5EF4-FFF2-40B4-BE49-F238E27FC236}">
                  <a16:creationId xmlns:a16="http://schemas.microsoft.com/office/drawing/2014/main" id="{806723C7-F5F0-4EB9-B2FA-09C226D7D648}"/>
                </a:ext>
              </a:extLst>
            </p:cNvPr>
            <p:cNvSpPr/>
            <p:nvPr/>
          </p:nvSpPr>
          <p:spPr bwMode="auto">
            <a:xfrm>
              <a:off x="9673878" y="3861496"/>
              <a:ext cx="28672" cy="30106"/>
            </a:xfrm>
            <a:custGeom>
              <a:avLst/>
              <a:gdLst>
                <a:gd name="T0" fmla="*/ 2 w 18"/>
                <a:gd name="T1" fmla="*/ 12 h 19"/>
                <a:gd name="T2" fmla="*/ 12 w 18"/>
                <a:gd name="T3" fmla="*/ 17 h 19"/>
                <a:gd name="T4" fmla="*/ 16 w 18"/>
                <a:gd name="T5" fmla="*/ 7 h 19"/>
                <a:gd name="T6" fmla="*/ 6 w 18"/>
                <a:gd name="T7" fmla="*/ 2 h 19"/>
                <a:gd name="T8" fmla="*/ 2 w 18"/>
                <a:gd name="T9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2" y="12"/>
                  </a:moveTo>
                  <a:cubicBezTo>
                    <a:pt x="3" y="17"/>
                    <a:pt x="8" y="19"/>
                    <a:pt x="12" y="17"/>
                  </a:cubicBezTo>
                  <a:cubicBezTo>
                    <a:pt x="16" y="16"/>
                    <a:pt x="18" y="11"/>
                    <a:pt x="16" y="7"/>
                  </a:cubicBezTo>
                  <a:cubicBezTo>
                    <a:pt x="15" y="3"/>
                    <a:pt x="10" y="0"/>
                    <a:pt x="6" y="2"/>
                  </a:cubicBezTo>
                  <a:cubicBezTo>
                    <a:pt x="2" y="3"/>
                    <a:pt x="0" y="8"/>
                    <a:pt x="2" y="12"/>
                  </a:cubicBez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ï$ľídè">
              <a:extLst>
                <a:ext uri="{FF2B5EF4-FFF2-40B4-BE49-F238E27FC236}">
                  <a16:creationId xmlns:a16="http://schemas.microsoft.com/office/drawing/2014/main" id="{A34580B6-51EE-49EA-9DDC-B0005327984D}"/>
                </a:ext>
              </a:extLst>
            </p:cNvPr>
            <p:cNvSpPr/>
            <p:nvPr/>
          </p:nvSpPr>
          <p:spPr bwMode="auto">
            <a:xfrm>
              <a:off x="9058868" y="3204912"/>
              <a:ext cx="630780" cy="367000"/>
            </a:xfrm>
            <a:custGeom>
              <a:avLst/>
              <a:gdLst>
                <a:gd name="T0" fmla="*/ 35 w 406"/>
                <a:gd name="T1" fmla="*/ 236 h 236"/>
                <a:gd name="T2" fmla="*/ 406 w 406"/>
                <a:gd name="T3" fmla="*/ 102 h 236"/>
                <a:gd name="T4" fmla="*/ 374 w 406"/>
                <a:gd name="T5" fmla="*/ 16 h 236"/>
                <a:gd name="T6" fmla="*/ 347 w 406"/>
                <a:gd name="T7" fmla="*/ 4 h 236"/>
                <a:gd name="T8" fmla="*/ 17 w 406"/>
                <a:gd name="T9" fmla="*/ 125 h 236"/>
                <a:gd name="T10" fmla="*/ 4 w 406"/>
                <a:gd name="T11" fmla="*/ 152 h 236"/>
                <a:gd name="T12" fmla="*/ 35 w 406"/>
                <a:gd name="T13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6" h="236">
                  <a:moveTo>
                    <a:pt x="35" y="236"/>
                  </a:moveTo>
                  <a:cubicBezTo>
                    <a:pt x="406" y="102"/>
                    <a:pt x="406" y="102"/>
                    <a:pt x="406" y="102"/>
                  </a:cubicBezTo>
                  <a:cubicBezTo>
                    <a:pt x="374" y="16"/>
                    <a:pt x="374" y="16"/>
                    <a:pt x="374" y="16"/>
                  </a:cubicBezTo>
                  <a:cubicBezTo>
                    <a:pt x="370" y="5"/>
                    <a:pt x="358" y="0"/>
                    <a:pt x="347" y="4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6" y="129"/>
                    <a:pt x="0" y="141"/>
                    <a:pt x="4" y="152"/>
                  </a:cubicBezTo>
                  <a:lnTo>
                    <a:pt x="35" y="236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ísḻiḑê">
              <a:extLst>
                <a:ext uri="{FF2B5EF4-FFF2-40B4-BE49-F238E27FC236}">
                  <a16:creationId xmlns:a16="http://schemas.microsoft.com/office/drawing/2014/main" id="{DD734258-EE34-4EA7-8ECB-8046C49DE058}"/>
                </a:ext>
              </a:extLst>
            </p:cNvPr>
            <p:cNvSpPr/>
            <p:nvPr/>
          </p:nvSpPr>
          <p:spPr bwMode="auto">
            <a:xfrm>
              <a:off x="9133415" y="3302396"/>
              <a:ext cx="506058" cy="280983"/>
            </a:xfrm>
            <a:custGeom>
              <a:avLst/>
              <a:gdLst>
                <a:gd name="T0" fmla="*/ 28 w 353"/>
                <a:gd name="T1" fmla="*/ 196 h 196"/>
                <a:gd name="T2" fmla="*/ 353 w 353"/>
                <a:gd name="T3" fmla="*/ 77 h 196"/>
                <a:gd name="T4" fmla="*/ 326 w 353"/>
                <a:gd name="T5" fmla="*/ 0 h 196"/>
                <a:gd name="T6" fmla="*/ 0 w 353"/>
                <a:gd name="T7" fmla="*/ 121 h 196"/>
                <a:gd name="T8" fmla="*/ 28 w 35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196">
                  <a:moveTo>
                    <a:pt x="28" y="196"/>
                  </a:moveTo>
                  <a:lnTo>
                    <a:pt x="353" y="77"/>
                  </a:lnTo>
                  <a:lnTo>
                    <a:pt x="326" y="0"/>
                  </a:lnTo>
                  <a:lnTo>
                    <a:pt x="0" y="121"/>
                  </a:lnTo>
                  <a:lnTo>
                    <a:pt x="28" y="1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îślîḑê">
              <a:extLst>
                <a:ext uri="{FF2B5EF4-FFF2-40B4-BE49-F238E27FC236}">
                  <a16:creationId xmlns:a16="http://schemas.microsoft.com/office/drawing/2014/main" id="{E391E262-1864-4E9D-93D2-256EED96A255}"/>
                </a:ext>
              </a:extLst>
            </p:cNvPr>
            <p:cNvSpPr/>
            <p:nvPr/>
          </p:nvSpPr>
          <p:spPr bwMode="auto">
            <a:xfrm>
              <a:off x="9557758" y="3451489"/>
              <a:ext cx="668054" cy="566268"/>
            </a:xfrm>
            <a:custGeom>
              <a:avLst/>
              <a:gdLst>
                <a:gd name="T0" fmla="*/ 411 w 466"/>
                <a:gd name="T1" fmla="*/ 0 h 395"/>
                <a:gd name="T2" fmla="*/ 458 w 466"/>
                <a:gd name="T3" fmla="*/ 25 h 395"/>
                <a:gd name="T4" fmla="*/ 466 w 466"/>
                <a:gd name="T5" fmla="*/ 99 h 395"/>
                <a:gd name="T6" fmla="*/ 414 w 466"/>
                <a:gd name="T7" fmla="*/ 285 h 395"/>
                <a:gd name="T8" fmla="*/ 107 w 466"/>
                <a:gd name="T9" fmla="*/ 377 h 395"/>
                <a:gd name="T10" fmla="*/ 18 w 466"/>
                <a:gd name="T11" fmla="*/ 395 h 395"/>
                <a:gd name="T12" fmla="*/ 0 w 466"/>
                <a:gd name="T13" fmla="*/ 372 h 395"/>
                <a:gd name="T14" fmla="*/ 16 w 466"/>
                <a:gd name="T15" fmla="*/ 345 h 395"/>
                <a:gd name="T16" fmla="*/ 54 w 466"/>
                <a:gd name="T17" fmla="*/ 335 h 395"/>
                <a:gd name="T18" fmla="*/ 51 w 466"/>
                <a:gd name="T19" fmla="*/ 312 h 395"/>
                <a:gd name="T20" fmla="*/ 92 w 466"/>
                <a:gd name="T21" fmla="*/ 319 h 395"/>
                <a:gd name="T22" fmla="*/ 338 w 466"/>
                <a:gd name="T23" fmla="*/ 227 h 395"/>
                <a:gd name="T24" fmla="*/ 381 w 466"/>
                <a:gd name="T25" fmla="*/ 71 h 395"/>
                <a:gd name="T26" fmla="*/ 411 w 466"/>
                <a:gd name="T27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6" h="395">
                  <a:moveTo>
                    <a:pt x="411" y="0"/>
                  </a:moveTo>
                  <a:lnTo>
                    <a:pt x="458" y="25"/>
                  </a:lnTo>
                  <a:lnTo>
                    <a:pt x="466" y="99"/>
                  </a:lnTo>
                  <a:lnTo>
                    <a:pt x="414" y="285"/>
                  </a:lnTo>
                  <a:lnTo>
                    <a:pt x="107" y="377"/>
                  </a:lnTo>
                  <a:lnTo>
                    <a:pt x="18" y="395"/>
                  </a:lnTo>
                  <a:lnTo>
                    <a:pt x="0" y="372"/>
                  </a:lnTo>
                  <a:lnTo>
                    <a:pt x="16" y="345"/>
                  </a:lnTo>
                  <a:lnTo>
                    <a:pt x="54" y="335"/>
                  </a:lnTo>
                  <a:lnTo>
                    <a:pt x="51" y="312"/>
                  </a:lnTo>
                  <a:lnTo>
                    <a:pt x="92" y="319"/>
                  </a:lnTo>
                  <a:lnTo>
                    <a:pt x="338" y="227"/>
                  </a:lnTo>
                  <a:lnTo>
                    <a:pt x="381" y="71"/>
                  </a:lnTo>
                  <a:lnTo>
                    <a:pt x="411" y="0"/>
                  </a:ln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iş1ïḍê">
              <a:extLst>
                <a:ext uri="{FF2B5EF4-FFF2-40B4-BE49-F238E27FC236}">
                  <a16:creationId xmlns:a16="http://schemas.microsoft.com/office/drawing/2014/main" id="{759573C8-DBE3-4147-85BB-02A855CA3E55}"/>
                </a:ext>
              </a:extLst>
            </p:cNvPr>
            <p:cNvSpPr/>
            <p:nvPr/>
          </p:nvSpPr>
          <p:spPr bwMode="auto">
            <a:xfrm>
              <a:off x="6509944" y="4619866"/>
              <a:ext cx="329726" cy="1121068"/>
            </a:xfrm>
            <a:custGeom>
              <a:avLst/>
              <a:gdLst>
                <a:gd name="T0" fmla="*/ 230 w 230"/>
                <a:gd name="T1" fmla="*/ 84 h 782"/>
                <a:gd name="T2" fmla="*/ 0 w 230"/>
                <a:gd name="T3" fmla="*/ 0 h 782"/>
                <a:gd name="T4" fmla="*/ 48 w 230"/>
                <a:gd name="T5" fmla="*/ 401 h 782"/>
                <a:gd name="T6" fmla="*/ 16 w 230"/>
                <a:gd name="T7" fmla="*/ 774 h 782"/>
                <a:gd name="T8" fmla="*/ 15 w 230"/>
                <a:gd name="T9" fmla="*/ 776 h 782"/>
                <a:gd name="T10" fmla="*/ 15 w 230"/>
                <a:gd name="T11" fmla="*/ 776 h 782"/>
                <a:gd name="T12" fmla="*/ 15 w 230"/>
                <a:gd name="T13" fmla="*/ 777 h 782"/>
                <a:gd name="T14" fmla="*/ 61 w 230"/>
                <a:gd name="T15" fmla="*/ 782 h 782"/>
                <a:gd name="T16" fmla="*/ 61 w 230"/>
                <a:gd name="T17" fmla="*/ 782 h 782"/>
                <a:gd name="T18" fmla="*/ 63 w 230"/>
                <a:gd name="T19" fmla="*/ 782 h 782"/>
                <a:gd name="T20" fmla="*/ 168 w 230"/>
                <a:gd name="T21" fmla="*/ 447 h 782"/>
                <a:gd name="T22" fmla="*/ 221 w 230"/>
                <a:gd name="T23" fmla="*/ 118 h 782"/>
                <a:gd name="T24" fmla="*/ 230 w 230"/>
                <a:gd name="T25" fmla="*/ 84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0" h="782">
                  <a:moveTo>
                    <a:pt x="230" y="84"/>
                  </a:moveTo>
                  <a:lnTo>
                    <a:pt x="0" y="0"/>
                  </a:lnTo>
                  <a:lnTo>
                    <a:pt x="48" y="401"/>
                  </a:lnTo>
                  <a:lnTo>
                    <a:pt x="16" y="774"/>
                  </a:lnTo>
                  <a:lnTo>
                    <a:pt x="15" y="776"/>
                  </a:lnTo>
                  <a:lnTo>
                    <a:pt x="15" y="776"/>
                  </a:lnTo>
                  <a:lnTo>
                    <a:pt x="15" y="777"/>
                  </a:lnTo>
                  <a:lnTo>
                    <a:pt x="61" y="782"/>
                  </a:lnTo>
                  <a:lnTo>
                    <a:pt x="61" y="782"/>
                  </a:lnTo>
                  <a:lnTo>
                    <a:pt x="63" y="782"/>
                  </a:lnTo>
                  <a:lnTo>
                    <a:pt x="168" y="447"/>
                  </a:lnTo>
                  <a:lnTo>
                    <a:pt x="221" y="118"/>
                  </a:lnTo>
                  <a:lnTo>
                    <a:pt x="230" y="84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ïŝ1íḓe">
              <a:extLst>
                <a:ext uri="{FF2B5EF4-FFF2-40B4-BE49-F238E27FC236}">
                  <a16:creationId xmlns:a16="http://schemas.microsoft.com/office/drawing/2014/main" id="{4FFA2ACC-6AC7-4284-9D24-1202058109BC}"/>
                </a:ext>
              </a:extLst>
            </p:cNvPr>
            <p:cNvSpPr/>
            <p:nvPr/>
          </p:nvSpPr>
          <p:spPr bwMode="auto">
            <a:xfrm>
              <a:off x="6515678" y="5723730"/>
              <a:ext cx="172031" cy="130457"/>
            </a:xfrm>
            <a:custGeom>
              <a:avLst/>
              <a:gdLst>
                <a:gd name="T0" fmla="*/ 59 w 120"/>
                <a:gd name="T1" fmla="*/ 2 h 91"/>
                <a:gd name="T2" fmla="*/ 12 w 120"/>
                <a:gd name="T3" fmla="*/ 0 h 91"/>
                <a:gd name="T4" fmla="*/ 0 w 120"/>
                <a:gd name="T5" fmla="*/ 40 h 91"/>
                <a:gd name="T6" fmla="*/ 1 w 120"/>
                <a:gd name="T7" fmla="*/ 40 h 91"/>
                <a:gd name="T8" fmla="*/ 0 w 120"/>
                <a:gd name="T9" fmla="*/ 40 h 91"/>
                <a:gd name="T10" fmla="*/ 79 w 120"/>
                <a:gd name="T11" fmla="*/ 86 h 91"/>
                <a:gd name="T12" fmla="*/ 115 w 120"/>
                <a:gd name="T13" fmla="*/ 91 h 91"/>
                <a:gd name="T14" fmla="*/ 120 w 120"/>
                <a:gd name="T15" fmla="*/ 48 h 91"/>
                <a:gd name="T16" fmla="*/ 110 w 120"/>
                <a:gd name="T17" fmla="*/ 41 h 91"/>
                <a:gd name="T18" fmla="*/ 59 w 120"/>
                <a:gd name="T19" fmla="*/ 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91">
                  <a:moveTo>
                    <a:pt x="59" y="2"/>
                  </a:moveTo>
                  <a:lnTo>
                    <a:pt x="12" y="0"/>
                  </a:lnTo>
                  <a:lnTo>
                    <a:pt x="0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79" y="86"/>
                  </a:lnTo>
                  <a:lnTo>
                    <a:pt x="115" y="91"/>
                  </a:lnTo>
                  <a:lnTo>
                    <a:pt x="120" y="48"/>
                  </a:lnTo>
                  <a:lnTo>
                    <a:pt x="110" y="41"/>
                  </a:lnTo>
                  <a:lnTo>
                    <a:pt x="59" y="2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iṣḻîḓé">
              <a:extLst>
                <a:ext uri="{FF2B5EF4-FFF2-40B4-BE49-F238E27FC236}">
                  <a16:creationId xmlns:a16="http://schemas.microsoft.com/office/drawing/2014/main" id="{8449779A-93BC-4D82-BE95-C9F3C0831B08}"/>
                </a:ext>
              </a:extLst>
            </p:cNvPr>
            <p:cNvSpPr/>
            <p:nvPr/>
          </p:nvSpPr>
          <p:spPr bwMode="auto">
            <a:xfrm>
              <a:off x="6722115" y="4675776"/>
              <a:ext cx="341195" cy="1103865"/>
            </a:xfrm>
            <a:custGeom>
              <a:avLst/>
              <a:gdLst>
                <a:gd name="T0" fmla="*/ 238 w 238"/>
                <a:gd name="T1" fmla="*/ 52 h 770"/>
                <a:gd name="T2" fmla="*/ 167 w 238"/>
                <a:gd name="T3" fmla="*/ 767 h 770"/>
                <a:gd name="T4" fmla="*/ 122 w 238"/>
                <a:gd name="T5" fmla="*/ 770 h 770"/>
                <a:gd name="T6" fmla="*/ 78 w 238"/>
                <a:gd name="T7" fmla="*/ 371 h 770"/>
                <a:gd name="T8" fmla="*/ 0 w 238"/>
                <a:gd name="T9" fmla="*/ 0 h 770"/>
                <a:gd name="T10" fmla="*/ 238 w 238"/>
                <a:gd name="T11" fmla="*/ 52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8" h="770">
                  <a:moveTo>
                    <a:pt x="238" y="52"/>
                  </a:moveTo>
                  <a:lnTo>
                    <a:pt x="167" y="767"/>
                  </a:lnTo>
                  <a:lnTo>
                    <a:pt x="122" y="770"/>
                  </a:lnTo>
                  <a:lnTo>
                    <a:pt x="78" y="371"/>
                  </a:lnTo>
                  <a:lnTo>
                    <a:pt x="0" y="0"/>
                  </a:lnTo>
                  <a:lnTo>
                    <a:pt x="238" y="52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ṩlíďê">
              <a:extLst>
                <a:ext uri="{FF2B5EF4-FFF2-40B4-BE49-F238E27FC236}">
                  <a16:creationId xmlns:a16="http://schemas.microsoft.com/office/drawing/2014/main" id="{36BA0CBA-EC3C-447C-913A-28D091E31957}"/>
                </a:ext>
              </a:extLst>
            </p:cNvPr>
            <p:cNvSpPr/>
            <p:nvPr/>
          </p:nvSpPr>
          <p:spPr bwMode="auto">
            <a:xfrm>
              <a:off x="6888412" y="5759570"/>
              <a:ext cx="163429" cy="88882"/>
            </a:xfrm>
            <a:custGeom>
              <a:avLst/>
              <a:gdLst>
                <a:gd name="T0" fmla="*/ 53 w 114"/>
                <a:gd name="T1" fmla="*/ 0 h 62"/>
                <a:gd name="T2" fmla="*/ 114 w 114"/>
                <a:gd name="T3" fmla="*/ 34 h 62"/>
                <a:gd name="T4" fmla="*/ 108 w 114"/>
                <a:gd name="T5" fmla="*/ 62 h 62"/>
                <a:gd name="T6" fmla="*/ 0 w 114"/>
                <a:gd name="T7" fmla="*/ 46 h 62"/>
                <a:gd name="T8" fmla="*/ 6 w 114"/>
                <a:gd name="T9" fmla="*/ 5 h 62"/>
                <a:gd name="T10" fmla="*/ 53 w 114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62">
                  <a:moveTo>
                    <a:pt x="53" y="0"/>
                  </a:moveTo>
                  <a:lnTo>
                    <a:pt x="114" y="34"/>
                  </a:lnTo>
                  <a:lnTo>
                    <a:pt x="108" y="62"/>
                  </a:lnTo>
                  <a:lnTo>
                    <a:pt x="0" y="46"/>
                  </a:lnTo>
                  <a:lnTo>
                    <a:pt x="6" y="5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í$ḷiḍê">
              <a:extLst>
                <a:ext uri="{FF2B5EF4-FFF2-40B4-BE49-F238E27FC236}">
                  <a16:creationId xmlns:a16="http://schemas.microsoft.com/office/drawing/2014/main" id="{4CE2083A-9A9A-406B-BFE8-569353D1FBA6}"/>
                </a:ext>
              </a:extLst>
            </p:cNvPr>
            <p:cNvSpPr/>
            <p:nvPr/>
          </p:nvSpPr>
          <p:spPr bwMode="auto">
            <a:xfrm>
              <a:off x="6251897" y="3709535"/>
              <a:ext cx="987745" cy="1344708"/>
            </a:xfrm>
            <a:custGeom>
              <a:avLst/>
              <a:gdLst>
                <a:gd name="T0" fmla="*/ 621 w 635"/>
                <a:gd name="T1" fmla="*/ 829 h 865"/>
                <a:gd name="T2" fmla="*/ 635 w 635"/>
                <a:gd name="T3" fmla="*/ 787 h 865"/>
                <a:gd name="T4" fmla="*/ 622 w 635"/>
                <a:gd name="T5" fmla="*/ 696 h 865"/>
                <a:gd name="T6" fmla="*/ 587 w 635"/>
                <a:gd name="T7" fmla="*/ 502 h 865"/>
                <a:gd name="T8" fmla="*/ 511 w 635"/>
                <a:gd name="T9" fmla="*/ 191 h 865"/>
                <a:gd name="T10" fmla="*/ 493 w 635"/>
                <a:gd name="T11" fmla="*/ 141 h 865"/>
                <a:gd name="T12" fmla="*/ 481 w 635"/>
                <a:gd name="T13" fmla="*/ 121 h 865"/>
                <a:gd name="T14" fmla="*/ 372 w 635"/>
                <a:gd name="T15" fmla="*/ 11 h 865"/>
                <a:gd name="T16" fmla="*/ 369 w 635"/>
                <a:gd name="T17" fmla="*/ 10 h 865"/>
                <a:gd name="T18" fmla="*/ 222 w 635"/>
                <a:gd name="T19" fmla="*/ 27 h 865"/>
                <a:gd name="T20" fmla="*/ 200 w 635"/>
                <a:gd name="T21" fmla="*/ 43 h 865"/>
                <a:gd name="T22" fmla="*/ 154 w 635"/>
                <a:gd name="T23" fmla="*/ 93 h 865"/>
                <a:gd name="T24" fmla="*/ 141 w 635"/>
                <a:gd name="T25" fmla="*/ 161 h 865"/>
                <a:gd name="T26" fmla="*/ 120 w 635"/>
                <a:gd name="T27" fmla="*/ 300 h 865"/>
                <a:gd name="T28" fmla="*/ 83 w 635"/>
                <a:gd name="T29" fmla="*/ 560 h 865"/>
                <a:gd name="T30" fmla="*/ 65 w 635"/>
                <a:gd name="T31" fmla="*/ 693 h 865"/>
                <a:gd name="T32" fmla="*/ 7 w 635"/>
                <a:gd name="T33" fmla="*/ 809 h 865"/>
                <a:gd name="T34" fmla="*/ 109 w 635"/>
                <a:gd name="T35" fmla="*/ 856 h 865"/>
                <a:gd name="T36" fmla="*/ 238 w 635"/>
                <a:gd name="T37" fmla="*/ 863 h 865"/>
                <a:gd name="T38" fmla="*/ 521 w 635"/>
                <a:gd name="T39" fmla="*/ 854 h 865"/>
                <a:gd name="T40" fmla="*/ 619 w 635"/>
                <a:gd name="T41" fmla="*/ 831 h 865"/>
                <a:gd name="T42" fmla="*/ 621 w 635"/>
                <a:gd name="T43" fmla="*/ 829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5" h="865">
                  <a:moveTo>
                    <a:pt x="621" y="829"/>
                  </a:moveTo>
                  <a:cubicBezTo>
                    <a:pt x="635" y="820"/>
                    <a:pt x="635" y="804"/>
                    <a:pt x="635" y="787"/>
                  </a:cubicBezTo>
                  <a:cubicBezTo>
                    <a:pt x="635" y="757"/>
                    <a:pt x="629" y="726"/>
                    <a:pt x="622" y="696"/>
                  </a:cubicBezTo>
                  <a:cubicBezTo>
                    <a:pt x="609" y="641"/>
                    <a:pt x="594" y="574"/>
                    <a:pt x="587" y="502"/>
                  </a:cubicBezTo>
                  <a:cubicBezTo>
                    <a:pt x="570" y="316"/>
                    <a:pt x="511" y="191"/>
                    <a:pt x="511" y="191"/>
                  </a:cubicBezTo>
                  <a:cubicBezTo>
                    <a:pt x="493" y="141"/>
                    <a:pt x="493" y="141"/>
                    <a:pt x="493" y="141"/>
                  </a:cubicBezTo>
                  <a:cubicBezTo>
                    <a:pt x="489" y="134"/>
                    <a:pt x="485" y="128"/>
                    <a:pt x="481" y="121"/>
                  </a:cubicBezTo>
                  <a:cubicBezTo>
                    <a:pt x="457" y="84"/>
                    <a:pt x="416" y="21"/>
                    <a:pt x="372" y="11"/>
                  </a:cubicBezTo>
                  <a:cubicBezTo>
                    <a:pt x="371" y="11"/>
                    <a:pt x="370" y="10"/>
                    <a:pt x="369" y="10"/>
                  </a:cubicBezTo>
                  <a:cubicBezTo>
                    <a:pt x="323" y="0"/>
                    <a:pt x="264" y="5"/>
                    <a:pt x="222" y="27"/>
                  </a:cubicBezTo>
                  <a:cubicBezTo>
                    <a:pt x="214" y="32"/>
                    <a:pt x="207" y="37"/>
                    <a:pt x="200" y="43"/>
                  </a:cubicBezTo>
                  <a:cubicBezTo>
                    <a:pt x="180" y="59"/>
                    <a:pt x="163" y="68"/>
                    <a:pt x="154" y="93"/>
                  </a:cubicBezTo>
                  <a:cubicBezTo>
                    <a:pt x="147" y="115"/>
                    <a:pt x="145" y="139"/>
                    <a:pt x="141" y="161"/>
                  </a:cubicBezTo>
                  <a:cubicBezTo>
                    <a:pt x="132" y="207"/>
                    <a:pt x="127" y="254"/>
                    <a:pt x="120" y="300"/>
                  </a:cubicBezTo>
                  <a:cubicBezTo>
                    <a:pt x="108" y="386"/>
                    <a:pt x="97" y="473"/>
                    <a:pt x="83" y="560"/>
                  </a:cubicBezTo>
                  <a:cubicBezTo>
                    <a:pt x="76" y="604"/>
                    <a:pt x="69" y="649"/>
                    <a:pt x="65" y="693"/>
                  </a:cubicBezTo>
                  <a:cubicBezTo>
                    <a:pt x="62" y="733"/>
                    <a:pt x="27" y="773"/>
                    <a:pt x="7" y="809"/>
                  </a:cubicBezTo>
                  <a:cubicBezTo>
                    <a:pt x="0" y="821"/>
                    <a:pt x="100" y="854"/>
                    <a:pt x="109" y="856"/>
                  </a:cubicBezTo>
                  <a:cubicBezTo>
                    <a:pt x="151" y="865"/>
                    <a:pt x="195" y="863"/>
                    <a:pt x="238" y="863"/>
                  </a:cubicBezTo>
                  <a:cubicBezTo>
                    <a:pt x="333" y="864"/>
                    <a:pt x="427" y="861"/>
                    <a:pt x="521" y="854"/>
                  </a:cubicBezTo>
                  <a:cubicBezTo>
                    <a:pt x="552" y="852"/>
                    <a:pt x="591" y="846"/>
                    <a:pt x="619" y="831"/>
                  </a:cubicBezTo>
                  <a:cubicBezTo>
                    <a:pt x="619" y="830"/>
                    <a:pt x="620" y="830"/>
                    <a:pt x="621" y="829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ṩľíḓê">
              <a:extLst>
                <a:ext uri="{FF2B5EF4-FFF2-40B4-BE49-F238E27FC236}">
                  <a16:creationId xmlns:a16="http://schemas.microsoft.com/office/drawing/2014/main" id="{AE3FD952-530A-4255-BE32-DC6646FC61C4}"/>
                </a:ext>
              </a:extLst>
            </p:cNvPr>
            <p:cNvSpPr/>
            <p:nvPr/>
          </p:nvSpPr>
          <p:spPr bwMode="auto">
            <a:xfrm>
              <a:off x="6528580" y="3695200"/>
              <a:ext cx="541897" cy="1364778"/>
            </a:xfrm>
            <a:custGeom>
              <a:avLst/>
              <a:gdLst>
                <a:gd name="T0" fmla="*/ 140 w 348"/>
                <a:gd name="T1" fmla="*/ 14 h 878"/>
                <a:gd name="T2" fmla="*/ 79 w 348"/>
                <a:gd name="T3" fmla="*/ 120 h 878"/>
                <a:gd name="T4" fmla="*/ 42 w 348"/>
                <a:gd name="T5" fmla="*/ 626 h 878"/>
                <a:gd name="T6" fmla="*/ 0 w 348"/>
                <a:gd name="T7" fmla="*/ 872 h 878"/>
                <a:gd name="T8" fmla="*/ 162 w 348"/>
                <a:gd name="T9" fmla="*/ 878 h 878"/>
                <a:gd name="T10" fmla="*/ 348 w 348"/>
                <a:gd name="T11" fmla="*/ 863 h 878"/>
                <a:gd name="T12" fmla="*/ 275 w 348"/>
                <a:gd name="T13" fmla="*/ 663 h 878"/>
                <a:gd name="T14" fmla="*/ 241 w 348"/>
                <a:gd name="T15" fmla="*/ 149 h 878"/>
                <a:gd name="T16" fmla="*/ 140 w 348"/>
                <a:gd name="T17" fmla="*/ 14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8" h="878">
                  <a:moveTo>
                    <a:pt x="140" y="14"/>
                  </a:moveTo>
                  <a:cubicBezTo>
                    <a:pt x="140" y="14"/>
                    <a:pt x="86" y="0"/>
                    <a:pt x="79" y="120"/>
                  </a:cubicBezTo>
                  <a:cubicBezTo>
                    <a:pt x="72" y="240"/>
                    <a:pt x="60" y="543"/>
                    <a:pt x="42" y="626"/>
                  </a:cubicBezTo>
                  <a:cubicBezTo>
                    <a:pt x="25" y="709"/>
                    <a:pt x="0" y="872"/>
                    <a:pt x="0" y="872"/>
                  </a:cubicBezTo>
                  <a:cubicBezTo>
                    <a:pt x="162" y="878"/>
                    <a:pt x="162" y="878"/>
                    <a:pt x="162" y="878"/>
                  </a:cubicBezTo>
                  <a:cubicBezTo>
                    <a:pt x="348" y="863"/>
                    <a:pt x="348" y="863"/>
                    <a:pt x="348" y="863"/>
                  </a:cubicBezTo>
                  <a:cubicBezTo>
                    <a:pt x="348" y="863"/>
                    <a:pt x="285" y="746"/>
                    <a:pt x="275" y="663"/>
                  </a:cubicBezTo>
                  <a:cubicBezTo>
                    <a:pt x="265" y="580"/>
                    <a:pt x="282" y="266"/>
                    <a:pt x="241" y="149"/>
                  </a:cubicBezTo>
                  <a:cubicBezTo>
                    <a:pt x="199" y="32"/>
                    <a:pt x="190" y="16"/>
                    <a:pt x="140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îSḷîḍè">
              <a:extLst>
                <a:ext uri="{FF2B5EF4-FFF2-40B4-BE49-F238E27FC236}">
                  <a16:creationId xmlns:a16="http://schemas.microsoft.com/office/drawing/2014/main" id="{9F69D10A-1D78-418B-AE53-9224D45F0D03}"/>
                </a:ext>
              </a:extLst>
            </p:cNvPr>
            <p:cNvSpPr/>
            <p:nvPr/>
          </p:nvSpPr>
          <p:spPr bwMode="auto">
            <a:xfrm>
              <a:off x="6831068" y="3725305"/>
              <a:ext cx="438679" cy="430077"/>
            </a:xfrm>
            <a:custGeom>
              <a:avLst/>
              <a:gdLst>
                <a:gd name="T0" fmla="*/ 201 w 306"/>
                <a:gd name="T1" fmla="*/ 284 h 300"/>
                <a:gd name="T2" fmla="*/ 214 w 306"/>
                <a:gd name="T3" fmla="*/ 300 h 300"/>
                <a:gd name="T4" fmla="*/ 306 w 306"/>
                <a:gd name="T5" fmla="*/ 282 h 300"/>
                <a:gd name="T6" fmla="*/ 71 w 306"/>
                <a:gd name="T7" fmla="*/ 22 h 300"/>
                <a:gd name="T8" fmla="*/ 0 w 306"/>
                <a:gd name="T9" fmla="*/ 0 h 300"/>
                <a:gd name="T10" fmla="*/ 34 w 306"/>
                <a:gd name="T11" fmla="*/ 93 h 300"/>
                <a:gd name="T12" fmla="*/ 201 w 306"/>
                <a:gd name="T13" fmla="*/ 28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6" h="300">
                  <a:moveTo>
                    <a:pt x="201" y="284"/>
                  </a:moveTo>
                  <a:lnTo>
                    <a:pt x="214" y="300"/>
                  </a:lnTo>
                  <a:lnTo>
                    <a:pt x="306" y="282"/>
                  </a:lnTo>
                  <a:lnTo>
                    <a:pt x="71" y="22"/>
                  </a:lnTo>
                  <a:lnTo>
                    <a:pt x="0" y="0"/>
                  </a:lnTo>
                  <a:lnTo>
                    <a:pt x="34" y="93"/>
                  </a:lnTo>
                  <a:lnTo>
                    <a:pt x="201" y="28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íşľïḋê">
              <a:extLst>
                <a:ext uri="{FF2B5EF4-FFF2-40B4-BE49-F238E27FC236}">
                  <a16:creationId xmlns:a16="http://schemas.microsoft.com/office/drawing/2014/main" id="{1875FB23-BA71-4556-8047-68FCACCDAA64}"/>
                </a:ext>
              </a:extLst>
            </p:cNvPr>
            <p:cNvSpPr/>
            <p:nvPr/>
          </p:nvSpPr>
          <p:spPr bwMode="auto">
            <a:xfrm>
              <a:off x="6680540" y="3379810"/>
              <a:ext cx="246578" cy="326859"/>
            </a:xfrm>
            <a:custGeom>
              <a:avLst/>
              <a:gdLst>
                <a:gd name="T0" fmla="*/ 74 w 158"/>
                <a:gd name="T1" fmla="*/ 103 h 210"/>
                <a:gd name="T2" fmla="*/ 85 w 158"/>
                <a:gd name="T3" fmla="*/ 175 h 210"/>
                <a:gd name="T4" fmla="*/ 108 w 158"/>
                <a:gd name="T5" fmla="*/ 207 h 210"/>
                <a:gd name="T6" fmla="*/ 152 w 158"/>
                <a:gd name="T7" fmla="*/ 190 h 210"/>
                <a:gd name="T8" fmla="*/ 138 w 158"/>
                <a:gd name="T9" fmla="*/ 152 h 210"/>
                <a:gd name="T10" fmla="*/ 119 w 158"/>
                <a:gd name="T11" fmla="*/ 140 h 210"/>
                <a:gd name="T12" fmla="*/ 114 w 158"/>
                <a:gd name="T13" fmla="*/ 132 h 210"/>
                <a:gd name="T14" fmla="*/ 106 w 158"/>
                <a:gd name="T15" fmla="*/ 94 h 210"/>
                <a:gd name="T16" fmla="*/ 104 w 158"/>
                <a:gd name="T17" fmla="*/ 68 h 210"/>
                <a:gd name="T18" fmla="*/ 79 w 158"/>
                <a:gd name="T19" fmla="*/ 35 h 210"/>
                <a:gd name="T20" fmla="*/ 6 w 158"/>
                <a:gd name="T21" fmla="*/ 25 h 210"/>
                <a:gd name="T22" fmla="*/ 0 w 158"/>
                <a:gd name="T23" fmla="*/ 45 h 210"/>
                <a:gd name="T24" fmla="*/ 1 w 158"/>
                <a:gd name="T25" fmla="*/ 57 h 210"/>
                <a:gd name="T26" fmla="*/ 35 w 158"/>
                <a:gd name="T27" fmla="*/ 74 h 210"/>
                <a:gd name="T28" fmla="*/ 74 w 158"/>
                <a:gd name="T29" fmla="*/ 103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8" h="210">
                  <a:moveTo>
                    <a:pt x="74" y="103"/>
                  </a:moveTo>
                  <a:cubicBezTo>
                    <a:pt x="90" y="123"/>
                    <a:pt x="88" y="151"/>
                    <a:pt x="85" y="175"/>
                  </a:cubicBezTo>
                  <a:cubicBezTo>
                    <a:pt x="83" y="196"/>
                    <a:pt x="85" y="210"/>
                    <a:pt x="108" y="207"/>
                  </a:cubicBezTo>
                  <a:cubicBezTo>
                    <a:pt x="121" y="205"/>
                    <a:pt x="145" y="203"/>
                    <a:pt x="152" y="190"/>
                  </a:cubicBezTo>
                  <a:cubicBezTo>
                    <a:pt x="158" y="180"/>
                    <a:pt x="145" y="160"/>
                    <a:pt x="138" y="152"/>
                  </a:cubicBezTo>
                  <a:cubicBezTo>
                    <a:pt x="133" y="147"/>
                    <a:pt x="124" y="146"/>
                    <a:pt x="119" y="140"/>
                  </a:cubicBezTo>
                  <a:cubicBezTo>
                    <a:pt x="117" y="138"/>
                    <a:pt x="115" y="135"/>
                    <a:pt x="114" y="132"/>
                  </a:cubicBezTo>
                  <a:cubicBezTo>
                    <a:pt x="110" y="120"/>
                    <a:pt x="107" y="107"/>
                    <a:pt x="106" y="94"/>
                  </a:cubicBezTo>
                  <a:cubicBezTo>
                    <a:pt x="106" y="85"/>
                    <a:pt x="106" y="76"/>
                    <a:pt x="104" y="68"/>
                  </a:cubicBezTo>
                  <a:cubicBezTo>
                    <a:pt x="101" y="55"/>
                    <a:pt x="87" y="44"/>
                    <a:pt x="79" y="35"/>
                  </a:cubicBezTo>
                  <a:cubicBezTo>
                    <a:pt x="63" y="17"/>
                    <a:pt x="25" y="0"/>
                    <a:pt x="6" y="25"/>
                  </a:cubicBezTo>
                  <a:cubicBezTo>
                    <a:pt x="2" y="30"/>
                    <a:pt x="1" y="38"/>
                    <a:pt x="0" y="45"/>
                  </a:cubicBezTo>
                  <a:cubicBezTo>
                    <a:pt x="0" y="49"/>
                    <a:pt x="0" y="53"/>
                    <a:pt x="1" y="57"/>
                  </a:cubicBezTo>
                  <a:cubicBezTo>
                    <a:pt x="7" y="73"/>
                    <a:pt x="22" y="71"/>
                    <a:pt x="35" y="74"/>
                  </a:cubicBezTo>
                  <a:cubicBezTo>
                    <a:pt x="50" y="79"/>
                    <a:pt x="64" y="90"/>
                    <a:pt x="74" y="10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şļîde">
              <a:extLst>
                <a:ext uri="{FF2B5EF4-FFF2-40B4-BE49-F238E27FC236}">
                  <a16:creationId xmlns:a16="http://schemas.microsoft.com/office/drawing/2014/main" id="{4B4FEFE7-8E00-4DB1-95DF-B0A3B061D6B9}"/>
                </a:ext>
              </a:extLst>
            </p:cNvPr>
            <p:cNvSpPr/>
            <p:nvPr/>
          </p:nvSpPr>
          <p:spPr bwMode="auto">
            <a:xfrm>
              <a:off x="6577322" y="3402747"/>
              <a:ext cx="245145" cy="356965"/>
            </a:xfrm>
            <a:custGeom>
              <a:avLst/>
              <a:gdLst>
                <a:gd name="T0" fmla="*/ 127 w 158"/>
                <a:gd name="T1" fmla="*/ 194 h 230"/>
                <a:gd name="T2" fmla="*/ 157 w 158"/>
                <a:gd name="T3" fmla="*/ 135 h 230"/>
                <a:gd name="T4" fmla="*/ 140 w 158"/>
                <a:gd name="T5" fmla="*/ 69 h 230"/>
                <a:gd name="T6" fmla="*/ 10 w 158"/>
                <a:gd name="T7" fmla="*/ 102 h 230"/>
                <a:gd name="T8" fmla="*/ 127 w 158"/>
                <a:gd name="T9" fmla="*/ 1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230">
                  <a:moveTo>
                    <a:pt x="127" y="194"/>
                  </a:moveTo>
                  <a:cubicBezTo>
                    <a:pt x="146" y="181"/>
                    <a:pt x="156" y="158"/>
                    <a:pt x="157" y="135"/>
                  </a:cubicBezTo>
                  <a:cubicBezTo>
                    <a:pt x="158" y="112"/>
                    <a:pt x="150" y="90"/>
                    <a:pt x="140" y="69"/>
                  </a:cubicBezTo>
                  <a:cubicBezTo>
                    <a:pt x="108" y="0"/>
                    <a:pt x="20" y="36"/>
                    <a:pt x="10" y="102"/>
                  </a:cubicBezTo>
                  <a:cubicBezTo>
                    <a:pt x="0" y="159"/>
                    <a:pt x="71" y="230"/>
                    <a:pt x="127" y="194"/>
                  </a:cubicBez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îŝ1iḑè">
              <a:extLst>
                <a:ext uri="{FF2B5EF4-FFF2-40B4-BE49-F238E27FC236}">
                  <a16:creationId xmlns:a16="http://schemas.microsoft.com/office/drawing/2014/main" id="{26540F97-DCEC-4163-8964-91B4E318467E}"/>
                </a:ext>
              </a:extLst>
            </p:cNvPr>
            <p:cNvSpPr/>
            <p:nvPr/>
          </p:nvSpPr>
          <p:spPr bwMode="auto">
            <a:xfrm>
              <a:off x="6699178" y="3663661"/>
              <a:ext cx="83148" cy="87450"/>
            </a:xfrm>
            <a:custGeom>
              <a:avLst/>
              <a:gdLst>
                <a:gd name="T0" fmla="*/ 45 w 53"/>
                <a:gd name="T1" fmla="*/ 18 h 57"/>
                <a:gd name="T2" fmla="*/ 53 w 53"/>
                <a:gd name="T3" fmla="*/ 43 h 57"/>
                <a:gd name="T4" fmla="*/ 53 w 53"/>
                <a:gd name="T5" fmla="*/ 47 h 57"/>
                <a:gd name="T6" fmla="*/ 49 w 53"/>
                <a:gd name="T7" fmla="*/ 49 h 57"/>
                <a:gd name="T8" fmla="*/ 29 w 53"/>
                <a:gd name="T9" fmla="*/ 55 h 57"/>
                <a:gd name="T10" fmla="*/ 19 w 53"/>
                <a:gd name="T11" fmla="*/ 57 h 57"/>
                <a:gd name="T12" fmla="*/ 5 w 53"/>
                <a:gd name="T13" fmla="*/ 40 h 57"/>
                <a:gd name="T14" fmla="*/ 0 w 53"/>
                <a:gd name="T15" fmla="*/ 18 h 57"/>
                <a:gd name="T16" fmla="*/ 40 w 53"/>
                <a:gd name="T17" fmla="*/ 2 h 57"/>
                <a:gd name="T18" fmla="*/ 45 w 53"/>
                <a:gd name="T19" fmla="*/ 1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7">
                  <a:moveTo>
                    <a:pt x="45" y="18"/>
                  </a:moveTo>
                  <a:cubicBezTo>
                    <a:pt x="48" y="26"/>
                    <a:pt x="50" y="35"/>
                    <a:pt x="53" y="43"/>
                  </a:cubicBezTo>
                  <a:cubicBezTo>
                    <a:pt x="53" y="44"/>
                    <a:pt x="53" y="46"/>
                    <a:pt x="53" y="47"/>
                  </a:cubicBezTo>
                  <a:cubicBezTo>
                    <a:pt x="52" y="48"/>
                    <a:pt x="51" y="49"/>
                    <a:pt x="49" y="49"/>
                  </a:cubicBezTo>
                  <a:cubicBezTo>
                    <a:pt x="43" y="51"/>
                    <a:pt x="36" y="53"/>
                    <a:pt x="29" y="55"/>
                  </a:cubicBezTo>
                  <a:cubicBezTo>
                    <a:pt x="26" y="56"/>
                    <a:pt x="22" y="57"/>
                    <a:pt x="19" y="57"/>
                  </a:cubicBezTo>
                  <a:cubicBezTo>
                    <a:pt x="11" y="56"/>
                    <a:pt x="7" y="48"/>
                    <a:pt x="5" y="40"/>
                  </a:cubicBezTo>
                  <a:cubicBezTo>
                    <a:pt x="4" y="33"/>
                    <a:pt x="4" y="25"/>
                    <a:pt x="0" y="18"/>
                  </a:cubicBezTo>
                  <a:cubicBezTo>
                    <a:pt x="16" y="20"/>
                    <a:pt x="24" y="0"/>
                    <a:pt x="40" y="2"/>
                  </a:cubicBezTo>
                  <a:lnTo>
                    <a:pt x="45" y="18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iŝliḋe">
              <a:extLst>
                <a:ext uri="{FF2B5EF4-FFF2-40B4-BE49-F238E27FC236}">
                  <a16:creationId xmlns:a16="http://schemas.microsoft.com/office/drawing/2014/main" id="{DBA59970-5AB8-4B92-92FD-7E65FA2A8801}"/>
                </a:ext>
              </a:extLst>
            </p:cNvPr>
            <p:cNvSpPr/>
            <p:nvPr/>
          </p:nvSpPr>
          <p:spPr bwMode="auto">
            <a:xfrm>
              <a:off x="6451166" y="3313865"/>
              <a:ext cx="308223" cy="504624"/>
            </a:xfrm>
            <a:custGeom>
              <a:avLst/>
              <a:gdLst>
                <a:gd name="T0" fmla="*/ 97 w 198"/>
                <a:gd name="T1" fmla="*/ 30 h 325"/>
                <a:gd name="T2" fmla="*/ 51 w 198"/>
                <a:gd name="T3" fmla="*/ 93 h 325"/>
                <a:gd name="T4" fmla="*/ 17 w 198"/>
                <a:gd name="T5" fmla="*/ 122 h 325"/>
                <a:gd name="T6" fmla="*/ 24 w 198"/>
                <a:gd name="T7" fmla="*/ 221 h 325"/>
                <a:gd name="T8" fmla="*/ 16 w 198"/>
                <a:gd name="T9" fmla="*/ 240 h 325"/>
                <a:gd name="T10" fmla="*/ 19 w 198"/>
                <a:gd name="T11" fmla="*/ 284 h 325"/>
                <a:gd name="T12" fmla="*/ 23 w 198"/>
                <a:gd name="T13" fmla="*/ 294 h 325"/>
                <a:gd name="T14" fmla="*/ 103 w 198"/>
                <a:gd name="T15" fmla="*/ 298 h 325"/>
                <a:gd name="T16" fmla="*/ 112 w 198"/>
                <a:gd name="T17" fmla="*/ 279 h 325"/>
                <a:gd name="T18" fmla="*/ 111 w 198"/>
                <a:gd name="T19" fmla="*/ 278 h 325"/>
                <a:gd name="T20" fmla="*/ 112 w 198"/>
                <a:gd name="T21" fmla="*/ 237 h 325"/>
                <a:gd name="T22" fmla="*/ 120 w 198"/>
                <a:gd name="T23" fmla="*/ 224 h 325"/>
                <a:gd name="T24" fmla="*/ 109 w 198"/>
                <a:gd name="T25" fmla="*/ 190 h 325"/>
                <a:gd name="T26" fmla="*/ 186 w 198"/>
                <a:gd name="T27" fmla="*/ 87 h 325"/>
                <a:gd name="T28" fmla="*/ 97 w 198"/>
                <a:gd name="T29" fmla="*/ 30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8" h="325">
                  <a:moveTo>
                    <a:pt x="97" y="30"/>
                  </a:moveTo>
                  <a:cubicBezTo>
                    <a:pt x="77" y="47"/>
                    <a:pt x="70" y="76"/>
                    <a:pt x="51" y="93"/>
                  </a:cubicBezTo>
                  <a:cubicBezTo>
                    <a:pt x="40" y="103"/>
                    <a:pt x="24" y="109"/>
                    <a:pt x="17" y="122"/>
                  </a:cubicBezTo>
                  <a:cubicBezTo>
                    <a:pt x="0" y="152"/>
                    <a:pt x="35" y="189"/>
                    <a:pt x="24" y="221"/>
                  </a:cubicBezTo>
                  <a:cubicBezTo>
                    <a:pt x="22" y="227"/>
                    <a:pt x="18" y="233"/>
                    <a:pt x="16" y="240"/>
                  </a:cubicBezTo>
                  <a:cubicBezTo>
                    <a:pt x="11" y="254"/>
                    <a:pt x="15" y="270"/>
                    <a:pt x="19" y="284"/>
                  </a:cubicBezTo>
                  <a:cubicBezTo>
                    <a:pt x="20" y="287"/>
                    <a:pt x="21" y="291"/>
                    <a:pt x="23" y="294"/>
                  </a:cubicBezTo>
                  <a:cubicBezTo>
                    <a:pt x="38" y="325"/>
                    <a:pt x="85" y="306"/>
                    <a:pt x="103" y="298"/>
                  </a:cubicBezTo>
                  <a:cubicBezTo>
                    <a:pt x="123" y="288"/>
                    <a:pt x="112" y="279"/>
                    <a:pt x="112" y="279"/>
                  </a:cubicBezTo>
                  <a:cubicBezTo>
                    <a:pt x="111" y="278"/>
                    <a:pt x="111" y="278"/>
                    <a:pt x="111" y="278"/>
                  </a:cubicBezTo>
                  <a:cubicBezTo>
                    <a:pt x="104" y="266"/>
                    <a:pt x="104" y="250"/>
                    <a:pt x="112" y="237"/>
                  </a:cubicBezTo>
                  <a:cubicBezTo>
                    <a:pt x="115" y="233"/>
                    <a:pt x="118" y="229"/>
                    <a:pt x="120" y="224"/>
                  </a:cubicBezTo>
                  <a:cubicBezTo>
                    <a:pt x="122" y="212"/>
                    <a:pt x="112" y="202"/>
                    <a:pt x="109" y="190"/>
                  </a:cubicBezTo>
                  <a:cubicBezTo>
                    <a:pt x="97" y="144"/>
                    <a:pt x="176" y="127"/>
                    <a:pt x="186" y="87"/>
                  </a:cubicBezTo>
                  <a:cubicBezTo>
                    <a:pt x="198" y="38"/>
                    <a:pt x="136" y="0"/>
                    <a:pt x="97" y="30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îŝḻïďé">
              <a:extLst>
                <a:ext uri="{FF2B5EF4-FFF2-40B4-BE49-F238E27FC236}">
                  <a16:creationId xmlns:a16="http://schemas.microsoft.com/office/drawing/2014/main" id="{14F30A7C-864B-4739-B849-F4ED27214FD1}"/>
                </a:ext>
              </a:extLst>
            </p:cNvPr>
            <p:cNvSpPr/>
            <p:nvPr/>
          </p:nvSpPr>
          <p:spPr bwMode="auto">
            <a:xfrm>
              <a:off x="6320710" y="4466471"/>
              <a:ext cx="98918" cy="123289"/>
            </a:xfrm>
            <a:custGeom>
              <a:avLst/>
              <a:gdLst>
                <a:gd name="T0" fmla="*/ 11 w 69"/>
                <a:gd name="T1" fmla="*/ 44 h 86"/>
                <a:gd name="T2" fmla="*/ 51 w 69"/>
                <a:gd name="T3" fmla="*/ 86 h 86"/>
                <a:gd name="T4" fmla="*/ 69 w 69"/>
                <a:gd name="T5" fmla="*/ 68 h 86"/>
                <a:gd name="T6" fmla="*/ 47 w 69"/>
                <a:gd name="T7" fmla="*/ 35 h 86"/>
                <a:gd name="T8" fmla="*/ 60 w 69"/>
                <a:gd name="T9" fmla="*/ 31 h 86"/>
                <a:gd name="T10" fmla="*/ 21 w 69"/>
                <a:gd name="T11" fmla="*/ 0 h 86"/>
                <a:gd name="T12" fmla="*/ 0 w 69"/>
                <a:gd name="T13" fmla="*/ 15 h 86"/>
                <a:gd name="T14" fmla="*/ 11 w 69"/>
                <a:gd name="T15" fmla="*/ 4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86">
                  <a:moveTo>
                    <a:pt x="11" y="44"/>
                  </a:moveTo>
                  <a:lnTo>
                    <a:pt x="51" y="86"/>
                  </a:lnTo>
                  <a:lnTo>
                    <a:pt x="69" y="68"/>
                  </a:lnTo>
                  <a:lnTo>
                    <a:pt x="47" y="35"/>
                  </a:lnTo>
                  <a:lnTo>
                    <a:pt x="60" y="31"/>
                  </a:lnTo>
                  <a:lnTo>
                    <a:pt x="21" y="0"/>
                  </a:lnTo>
                  <a:lnTo>
                    <a:pt x="0" y="15"/>
                  </a:lnTo>
                  <a:lnTo>
                    <a:pt x="11" y="44"/>
                  </a:lnTo>
                  <a:close/>
                </a:path>
              </a:pathLst>
            </a:custGeom>
            <a:solidFill>
              <a:srgbClr val="DEC9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ïšḻïḋê">
              <a:extLst>
                <a:ext uri="{FF2B5EF4-FFF2-40B4-BE49-F238E27FC236}">
                  <a16:creationId xmlns:a16="http://schemas.microsoft.com/office/drawing/2014/main" id="{217B1414-C87F-4B33-AAAC-8470A51F8C8F}"/>
                </a:ext>
              </a:extLst>
            </p:cNvPr>
            <p:cNvSpPr/>
            <p:nvPr/>
          </p:nvSpPr>
          <p:spPr bwMode="auto">
            <a:xfrm>
              <a:off x="6237561" y="3776914"/>
              <a:ext cx="356965" cy="728264"/>
            </a:xfrm>
            <a:custGeom>
              <a:avLst/>
              <a:gdLst>
                <a:gd name="T0" fmla="*/ 249 w 249"/>
                <a:gd name="T1" fmla="*/ 171 h 508"/>
                <a:gd name="T2" fmla="*/ 114 w 249"/>
                <a:gd name="T3" fmla="*/ 274 h 508"/>
                <a:gd name="T4" fmla="*/ 92 w 249"/>
                <a:gd name="T5" fmla="*/ 474 h 508"/>
                <a:gd name="T6" fmla="*/ 48 w 249"/>
                <a:gd name="T7" fmla="*/ 508 h 508"/>
                <a:gd name="T8" fmla="*/ 0 w 249"/>
                <a:gd name="T9" fmla="*/ 213 h 508"/>
                <a:gd name="T10" fmla="*/ 227 w 249"/>
                <a:gd name="T11" fmla="*/ 0 h 508"/>
                <a:gd name="T12" fmla="*/ 249 w 249"/>
                <a:gd name="T13" fmla="*/ 171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508">
                  <a:moveTo>
                    <a:pt x="249" y="171"/>
                  </a:moveTo>
                  <a:lnTo>
                    <a:pt x="114" y="274"/>
                  </a:lnTo>
                  <a:lnTo>
                    <a:pt x="92" y="474"/>
                  </a:lnTo>
                  <a:lnTo>
                    <a:pt x="48" y="508"/>
                  </a:lnTo>
                  <a:lnTo>
                    <a:pt x="0" y="213"/>
                  </a:lnTo>
                  <a:lnTo>
                    <a:pt x="227" y="0"/>
                  </a:lnTo>
                  <a:lnTo>
                    <a:pt x="249" y="17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îṥ1îdé">
              <a:extLst>
                <a:ext uri="{FF2B5EF4-FFF2-40B4-BE49-F238E27FC236}">
                  <a16:creationId xmlns:a16="http://schemas.microsoft.com/office/drawing/2014/main" id="{671F85AB-7E07-4878-A9A7-7F1EC682065A}"/>
                </a:ext>
              </a:extLst>
            </p:cNvPr>
            <p:cNvSpPr/>
            <p:nvPr/>
          </p:nvSpPr>
          <p:spPr bwMode="auto">
            <a:xfrm>
              <a:off x="6487007" y="4032093"/>
              <a:ext cx="113254" cy="732565"/>
            </a:xfrm>
            <a:custGeom>
              <a:avLst/>
              <a:gdLst>
                <a:gd name="T0" fmla="*/ 27 w 79"/>
                <a:gd name="T1" fmla="*/ 511 h 511"/>
                <a:gd name="T2" fmla="*/ 0 w 79"/>
                <a:gd name="T3" fmla="*/ 509 h 511"/>
                <a:gd name="T4" fmla="*/ 52 w 79"/>
                <a:gd name="T5" fmla="*/ 0 h 511"/>
                <a:gd name="T6" fmla="*/ 79 w 79"/>
                <a:gd name="T7" fmla="*/ 3 h 511"/>
                <a:gd name="T8" fmla="*/ 27 w 79"/>
                <a:gd name="T9" fmla="*/ 511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511">
                  <a:moveTo>
                    <a:pt x="27" y="511"/>
                  </a:moveTo>
                  <a:lnTo>
                    <a:pt x="0" y="509"/>
                  </a:lnTo>
                  <a:lnTo>
                    <a:pt x="52" y="0"/>
                  </a:lnTo>
                  <a:lnTo>
                    <a:pt x="79" y="3"/>
                  </a:lnTo>
                  <a:lnTo>
                    <a:pt x="27" y="511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íṡľíḓe">
              <a:extLst>
                <a:ext uri="{FF2B5EF4-FFF2-40B4-BE49-F238E27FC236}">
                  <a16:creationId xmlns:a16="http://schemas.microsoft.com/office/drawing/2014/main" id="{07A2F1E7-9ECD-44D7-90C3-9D728BA7E8FB}"/>
                </a:ext>
              </a:extLst>
            </p:cNvPr>
            <p:cNvSpPr/>
            <p:nvPr/>
          </p:nvSpPr>
          <p:spPr bwMode="auto">
            <a:xfrm>
              <a:off x="6826767" y="4065067"/>
              <a:ext cx="116122" cy="735433"/>
            </a:xfrm>
            <a:custGeom>
              <a:avLst/>
              <a:gdLst>
                <a:gd name="T0" fmla="*/ 28 w 81"/>
                <a:gd name="T1" fmla="*/ 513 h 513"/>
                <a:gd name="T2" fmla="*/ 0 w 81"/>
                <a:gd name="T3" fmla="*/ 510 h 513"/>
                <a:gd name="T4" fmla="*/ 54 w 81"/>
                <a:gd name="T5" fmla="*/ 0 h 513"/>
                <a:gd name="T6" fmla="*/ 81 w 81"/>
                <a:gd name="T7" fmla="*/ 4 h 513"/>
                <a:gd name="T8" fmla="*/ 28 w 81"/>
                <a:gd name="T9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513">
                  <a:moveTo>
                    <a:pt x="28" y="513"/>
                  </a:moveTo>
                  <a:lnTo>
                    <a:pt x="0" y="510"/>
                  </a:lnTo>
                  <a:lnTo>
                    <a:pt x="54" y="0"/>
                  </a:lnTo>
                  <a:lnTo>
                    <a:pt x="81" y="4"/>
                  </a:lnTo>
                  <a:lnTo>
                    <a:pt x="28" y="513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ïśļíḍé">
              <a:extLst>
                <a:ext uri="{FF2B5EF4-FFF2-40B4-BE49-F238E27FC236}">
                  <a16:creationId xmlns:a16="http://schemas.microsoft.com/office/drawing/2014/main" id="{96C9646F-0627-45CA-9612-34587953B78E}"/>
                </a:ext>
              </a:extLst>
            </p:cNvPr>
            <p:cNvSpPr/>
            <p:nvPr/>
          </p:nvSpPr>
          <p:spPr bwMode="auto">
            <a:xfrm>
              <a:off x="7169396" y="4100905"/>
              <a:ext cx="113254" cy="735433"/>
            </a:xfrm>
            <a:custGeom>
              <a:avLst/>
              <a:gdLst>
                <a:gd name="T0" fmla="*/ 27 w 79"/>
                <a:gd name="T1" fmla="*/ 513 h 513"/>
                <a:gd name="T2" fmla="*/ 0 w 79"/>
                <a:gd name="T3" fmla="*/ 510 h 513"/>
                <a:gd name="T4" fmla="*/ 52 w 79"/>
                <a:gd name="T5" fmla="*/ 0 h 513"/>
                <a:gd name="T6" fmla="*/ 79 w 79"/>
                <a:gd name="T7" fmla="*/ 4 h 513"/>
                <a:gd name="T8" fmla="*/ 27 w 79"/>
                <a:gd name="T9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513">
                  <a:moveTo>
                    <a:pt x="27" y="513"/>
                  </a:moveTo>
                  <a:lnTo>
                    <a:pt x="0" y="510"/>
                  </a:lnTo>
                  <a:lnTo>
                    <a:pt x="52" y="0"/>
                  </a:lnTo>
                  <a:lnTo>
                    <a:pt x="79" y="4"/>
                  </a:lnTo>
                  <a:lnTo>
                    <a:pt x="27" y="513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isḷiḋè">
              <a:extLst>
                <a:ext uri="{FF2B5EF4-FFF2-40B4-BE49-F238E27FC236}">
                  <a16:creationId xmlns:a16="http://schemas.microsoft.com/office/drawing/2014/main" id="{D23C7CA4-2A33-43B4-A400-37C7E924C389}"/>
                </a:ext>
              </a:extLst>
            </p:cNvPr>
            <p:cNvSpPr/>
            <p:nvPr/>
          </p:nvSpPr>
          <p:spPr bwMode="auto">
            <a:xfrm>
              <a:off x="6376619" y="3967582"/>
              <a:ext cx="1129670" cy="205004"/>
            </a:xfrm>
            <a:custGeom>
              <a:avLst/>
              <a:gdLst>
                <a:gd name="T0" fmla="*/ 781 w 788"/>
                <a:gd name="T1" fmla="*/ 143 h 143"/>
                <a:gd name="T2" fmla="*/ 0 w 788"/>
                <a:gd name="T3" fmla="*/ 63 h 143"/>
                <a:gd name="T4" fmla="*/ 6 w 788"/>
                <a:gd name="T5" fmla="*/ 0 h 143"/>
                <a:gd name="T6" fmla="*/ 788 w 788"/>
                <a:gd name="T7" fmla="*/ 80 h 143"/>
                <a:gd name="T8" fmla="*/ 781 w 788"/>
                <a:gd name="T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8" h="143">
                  <a:moveTo>
                    <a:pt x="781" y="143"/>
                  </a:moveTo>
                  <a:lnTo>
                    <a:pt x="0" y="63"/>
                  </a:lnTo>
                  <a:lnTo>
                    <a:pt x="6" y="0"/>
                  </a:lnTo>
                  <a:lnTo>
                    <a:pt x="788" y="80"/>
                  </a:lnTo>
                  <a:lnTo>
                    <a:pt x="781" y="143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i$ḻïďè">
              <a:extLst>
                <a:ext uri="{FF2B5EF4-FFF2-40B4-BE49-F238E27FC236}">
                  <a16:creationId xmlns:a16="http://schemas.microsoft.com/office/drawing/2014/main" id="{871B4F9B-49A7-489E-BD4E-B52AD7695EA8}"/>
                </a:ext>
              </a:extLst>
            </p:cNvPr>
            <p:cNvSpPr/>
            <p:nvPr/>
          </p:nvSpPr>
          <p:spPr bwMode="auto">
            <a:xfrm>
              <a:off x="6302072" y="4695846"/>
              <a:ext cx="1126803" cy="206437"/>
            </a:xfrm>
            <a:custGeom>
              <a:avLst/>
              <a:gdLst>
                <a:gd name="T0" fmla="*/ 780 w 786"/>
                <a:gd name="T1" fmla="*/ 144 h 144"/>
                <a:gd name="T2" fmla="*/ 0 w 786"/>
                <a:gd name="T3" fmla="*/ 64 h 144"/>
                <a:gd name="T4" fmla="*/ 6 w 786"/>
                <a:gd name="T5" fmla="*/ 0 h 144"/>
                <a:gd name="T6" fmla="*/ 786 w 786"/>
                <a:gd name="T7" fmla="*/ 81 h 144"/>
                <a:gd name="T8" fmla="*/ 780 w 78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144">
                  <a:moveTo>
                    <a:pt x="780" y="144"/>
                  </a:moveTo>
                  <a:lnTo>
                    <a:pt x="0" y="64"/>
                  </a:lnTo>
                  <a:lnTo>
                    <a:pt x="6" y="0"/>
                  </a:lnTo>
                  <a:lnTo>
                    <a:pt x="786" y="81"/>
                  </a:lnTo>
                  <a:lnTo>
                    <a:pt x="780" y="144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iŝļiḓê">
              <a:extLst>
                <a:ext uri="{FF2B5EF4-FFF2-40B4-BE49-F238E27FC236}">
                  <a16:creationId xmlns:a16="http://schemas.microsoft.com/office/drawing/2014/main" id="{F8C6C066-1B19-47C0-9A89-DE369E92BF3E}"/>
                </a:ext>
              </a:extLst>
            </p:cNvPr>
            <p:cNvSpPr/>
            <p:nvPr/>
          </p:nvSpPr>
          <p:spPr bwMode="auto">
            <a:xfrm>
              <a:off x="6422494" y="4118109"/>
              <a:ext cx="286719" cy="123289"/>
            </a:xfrm>
            <a:custGeom>
              <a:avLst/>
              <a:gdLst>
                <a:gd name="T0" fmla="*/ 150 w 184"/>
                <a:gd name="T1" fmla="*/ 78 h 79"/>
                <a:gd name="T2" fmla="*/ 27 w 184"/>
                <a:gd name="T3" fmla="*/ 65 h 79"/>
                <a:gd name="T4" fmla="*/ 2 w 184"/>
                <a:gd name="T5" fmla="*/ 34 h 79"/>
                <a:gd name="T6" fmla="*/ 2 w 184"/>
                <a:gd name="T7" fmla="*/ 27 h 79"/>
                <a:gd name="T8" fmla="*/ 33 w 184"/>
                <a:gd name="T9" fmla="*/ 2 h 79"/>
                <a:gd name="T10" fmla="*/ 157 w 184"/>
                <a:gd name="T11" fmla="*/ 15 h 79"/>
                <a:gd name="T12" fmla="*/ 182 w 184"/>
                <a:gd name="T13" fmla="*/ 46 h 79"/>
                <a:gd name="T14" fmla="*/ 182 w 184"/>
                <a:gd name="T15" fmla="*/ 52 h 79"/>
                <a:gd name="T16" fmla="*/ 150 w 184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8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1" y="63"/>
                    <a:pt x="0" y="49"/>
                    <a:pt x="2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2"/>
                    <a:pt x="18" y="0"/>
                    <a:pt x="33" y="2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72" y="16"/>
                    <a:pt x="184" y="30"/>
                    <a:pt x="182" y="46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0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iṩļîďê">
              <a:extLst>
                <a:ext uri="{FF2B5EF4-FFF2-40B4-BE49-F238E27FC236}">
                  <a16:creationId xmlns:a16="http://schemas.microsoft.com/office/drawing/2014/main" id="{16FEE56A-7E99-438E-A91C-FD22A6A39273}"/>
                </a:ext>
              </a:extLst>
            </p:cNvPr>
            <p:cNvSpPr/>
            <p:nvPr/>
          </p:nvSpPr>
          <p:spPr bwMode="auto">
            <a:xfrm>
              <a:off x="6400990" y="4337449"/>
              <a:ext cx="285285" cy="123289"/>
            </a:xfrm>
            <a:custGeom>
              <a:avLst/>
              <a:gdLst>
                <a:gd name="T0" fmla="*/ 150 w 183"/>
                <a:gd name="T1" fmla="*/ 77 h 79"/>
                <a:gd name="T2" fmla="*/ 27 w 183"/>
                <a:gd name="T3" fmla="*/ 64 h 79"/>
                <a:gd name="T4" fmla="*/ 1 w 183"/>
                <a:gd name="T5" fmla="*/ 33 h 79"/>
                <a:gd name="T6" fmla="*/ 2 w 183"/>
                <a:gd name="T7" fmla="*/ 27 h 79"/>
                <a:gd name="T8" fmla="*/ 33 w 183"/>
                <a:gd name="T9" fmla="*/ 1 h 79"/>
                <a:gd name="T10" fmla="*/ 156 w 183"/>
                <a:gd name="T11" fmla="*/ 14 h 79"/>
                <a:gd name="T12" fmla="*/ 182 w 183"/>
                <a:gd name="T13" fmla="*/ 45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1" y="63"/>
                    <a:pt x="0" y="49"/>
                    <a:pt x="1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1"/>
                    <a:pt x="18" y="0"/>
                    <a:pt x="33" y="1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7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ṡ1ïďé">
              <a:extLst>
                <a:ext uri="{FF2B5EF4-FFF2-40B4-BE49-F238E27FC236}">
                  <a16:creationId xmlns:a16="http://schemas.microsoft.com/office/drawing/2014/main" id="{3AA15659-0869-47F7-9E20-1B00A0CAD325}"/>
                </a:ext>
              </a:extLst>
            </p:cNvPr>
            <p:cNvSpPr/>
            <p:nvPr/>
          </p:nvSpPr>
          <p:spPr bwMode="auto">
            <a:xfrm>
              <a:off x="6388088" y="4459304"/>
              <a:ext cx="285285" cy="121856"/>
            </a:xfrm>
            <a:custGeom>
              <a:avLst/>
              <a:gdLst>
                <a:gd name="T0" fmla="*/ 150 w 183"/>
                <a:gd name="T1" fmla="*/ 77 h 79"/>
                <a:gd name="T2" fmla="*/ 26 w 183"/>
                <a:gd name="T3" fmla="*/ 65 h 79"/>
                <a:gd name="T4" fmla="*/ 1 w 183"/>
                <a:gd name="T5" fmla="*/ 34 h 79"/>
                <a:gd name="T6" fmla="*/ 2 w 183"/>
                <a:gd name="T7" fmla="*/ 27 h 79"/>
                <a:gd name="T8" fmla="*/ 33 w 183"/>
                <a:gd name="T9" fmla="*/ 2 h 79"/>
                <a:gd name="T10" fmla="*/ 156 w 183"/>
                <a:gd name="T11" fmla="*/ 14 h 79"/>
                <a:gd name="T12" fmla="*/ 182 w 183"/>
                <a:gd name="T13" fmla="*/ 46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6" y="65"/>
                    <a:pt x="26" y="65"/>
                    <a:pt x="26" y="65"/>
                  </a:cubicBezTo>
                  <a:cubicBezTo>
                    <a:pt x="11" y="63"/>
                    <a:pt x="0" y="49"/>
                    <a:pt x="1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2"/>
                    <a:pt x="17" y="0"/>
                    <a:pt x="33" y="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6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8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iṡľiḓe">
              <a:extLst>
                <a:ext uri="{FF2B5EF4-FFF2-40B4-BE49-F238E27FC236}">
                  <a16:creationId xmlns:a16="http://schemas.microsoft.com/office/drawing/2014/main" id="{6C35F926-55A8-4D73-94A3-BA5639F4A3D2}"/>
                </a:ext>
              </a:extLst>
            </p:cNvPr>
            <p:cNvSpPr/>
            <p:nvPr/>
          </p:nvSpPr>
          <p:spPr bwMode="auto">
            <a:xfrm>
              <a:off x="6375187" y="4581159"/>
              <a:ext cx="285285" cy="123289"/>
            </a:xfrm>
            <a:custGeom>
              <a:avLst/>
              <a:gdLst>
                <a:gd name="T0" fmla="*/ 151 w 184"/>
                <a:gd name="T1" fmla="*/ 78 h 79"/>
                <a:gd name="T2" fmla="*/ 27 w 184"/>
                <a:gd name="T3" fmla="*/ 65 h 79"/>
                <a:gd name="T4" fmla="*/ 2 w 184"/>
                <a:gd name="T5" fmla="*/ 34 h 79"/>
                <a:gd name="T6" fmla="*/ 3 w 184"/>
                <a:gd name="T7" fmla="*/ 27 h 79"/>
                <a:gd name="T8" fmla="*/ 34 w 184"/>
                <a:gd name="T9" fmla="*/ 2 h 79"/>
                <a:gd name="T10" fmla="*/ 157 w 184"/>
                <a:gd name="T11" fmla="*/ 15 h 79"/>
                <a:gd name="T12" fmla="*/ 183 w 184"/>
                <a:gd name="T13" fmla="*/ 46 h 79"/>
                <a:gd name="T14" fmla="*/ 182 w 184"/>
                <a:gd name="T15" fmla="*/ 52 h 79"/>
                <a:gd name="T16" fmla="*/ 151 w 184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1" y="78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2" y="63"/>
                    <a:pt x="0" y="49"/>
                    <a:pt x="2" y="3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12"/>
                    <a:pt x="18" y="0"/>
                    <a:pt x="34" y="2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73" y="16"/>
                    <a:pt x="184" y="30"/>
                    <a:pt x="183" y="46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1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iśľîḑê">
              <a:extLst>
                <a:ext uri="{FF2B5EF4-FFF2-40B4-BE49-F238E27FC236}">
                  <a16:creationId xmlns:a16="http://schemas.microsoft.com/office/drawing/2014/main" id="{8B8E9ADF-9F9B-45B4-A2C9-E6F3CCE03CE2}"/>
                </a:ext>
              </a:extLst>
            </p:cNvPr>
            <p:cNvSpPr/>
            <p:nvPr/>
          </p:nvSpPr>
          <p:spPr bwMode="auto">
            <a:xfrm>
              <a:off x="6765123" y="4153949"/>
              <a:ext cx="285285" cy="123289"/>
            </a:xfrm>
            <a:custGeom>
              <a:avLst/>
              <a:gdLst>
                <a:gd name="T0" fmla="*/ 150 w 183"/>
                <a:gd name="T1" fmla="*/ 77 h 79"/>
                <a:gd name="T2" fmla="*/ 26 w 183"/>
                <a:gd name="T3" fmla="*/ 64 h 79"/>
                <a:gd name="T4" fmla="*/ 1 w 183"/>
                <a:gd name="T5" fmla="*/ 33 h 79"/>
                <a:gd name="T6" fmla="*/ 2 w 183"/>
                <a:gd name="T7" fmla="*/ 27 h 79"/>
                <a:gd name="T8" fmla="*/ 33 w 183"/>
                <a:gd name="T9" fmla="*/ 1 h 79"/>
                <a:gd name="T10" fmla="*/ 156 w 183"/>
                <a:gd name="T11" fmla="*/ 14 h 79"/>
                <a:gd name="T12" fmla="*/ 182 w 183"/>
                <a:gd name="T13" fmla="*/ 45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6" y="64"/>
                    <a:pt x="26" y="64"/>
                    <a:pt x="26" y="64"/>
                  </a:cubicBezTo>
                  <a:cubicBezTo>
                    <a:pt x="11" y="63"/>
                    <a:pt x="0" y="49"/>
                    <a:pt x="1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1"/>
                    <a:pt x="17" y="0"/>
                    <a:pt x="33" y="1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7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îṥļiḋe">
              <a:extLst>
                <a:ext uri="{FF2B5EF4-FFF2-40B4-BE49-F238E27FC236}">
                  <a16:creationId xmlns:a16="http://schemas.microsoft.com/office/drawing/2014/main" id="{50D6AB23-5A0E-4EBA-A90F-9B8CC4D32847}"/>
                </a:ext>
              </a:extLst>
            </p:cNvPr>
            <p:cNvSpPr/>
            <p:nvPr/>
          </p:nvSpPr>
          <p:spPr bwMode="auto">
            <a:xfrm>
              <a:off x="6750787" y="4278671"/>
              <a:ext cx="286719" cy="121856"/>
            </a:xfrm>
            <a:custGeom>
              <a:avLst/>
              <a:gdLst>
                <a:gd name="T0" fmla="*/ 151 w 184"/>
                <a:gd name="T1" fmla="*/ 77 h 79"/>
                <a:gd name="T2" fmla="*/ 27 w 184"/>
                <a:gd name="T3" fmla="*/ 65 h 79"/>
                <a:gd name="T4" fmla="*/ 2 w 184"/>
                <a:gd name="T5" fmla="*/ 34 h 79"/>
                <a:gd name="T6" fmla="*/ 3 w 184"/>
                <a:gd name="T7" fmla="*/ 27 h 79"/>
                <a:gd name="T8" fmla="*/ 34 w 184"/>
                <a:gd name="T9" fmla="*/ 2 h 79"/>
                <a:gd name="T10" fmla="*/ 157 w 184"/>
                <a:gd name="T11" fmla="*/ 14 h 79"/>
                <a:gd name="T12" fmla="*/ 182 w 184"/>
                <a:gd name="T13" fmla="*/ 45 h 79"/>
                <a:gd name="T14" fmla="*/ 182 w 184"/>
                <a:gd name="T15" fmla="*/ 52 h 79"/>
                <a:gd name="T16" fmla="*/ 151 w 184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1" y="77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2" y="63"/>
                    <a:pt x="0" y="49"/>
                    <a:pt x="2" y="3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11"/>
                    <a:pt x="18" y="0"/>
                    <a:pt x="34" y="2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3" y="16"/>
                    <a:pt x="184" y="30"/>
                    <a:pt x="182" y="45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1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íšļîḋê">
              <a:extLst>
                <a:ext uri="{FF2B5EF4-FFF2-40B4-BE49-F238E27FC236}">
                  <a16:creationId xmlns:a16="http://schemas.microsoft.com/office/drawing/2014/main" id="{983286F3-1B10-4AA4-97F1-901CA592F1D8}"/>
                </a:ext>
              </a:extLst>
            </p:cNvPr>
            <p:cNvSpPr/>
            <p:nvPr/>
          </p:nvSpPr>
          <p:spPr bwMode="auto">
            <a:xfrm>
              <a:off x="6729283" y="4493710"/>
              <a:ext cx="286719" cy="123289"/>
            </a:xfrm>
            <a:custGeom>
              <a:avLst/>
              <a:gdLst>
                <a:gd name="T0" fmla="*/ 150 w 184"/>
                <a:gd name="T1" fmla="*/ 77 h 79"/>
                <a:gd name="T2" fmla="*/ 27 w 184"/>
                <a:gd name="T3" fmla="*/ 64 h 79"/>
                <a:gd name="T4" fmla="*/ 2 w 184"/>
                <a:gd name="T5" fmla="*/ 33 h 79"/>
                <a:gd name="T6" fmla="*/ 2 w 184"/>
                <a:gd name="T7" fmla="*/ 27 h 79"/>
                <a:gd name="T8" fmla="*/ 33 w 184"/>
                <a:gd name="T9" fmla="*/ 1 h 79"/>
                <a:gd name="T10" fmla="*/ 157 w 184"/>
                <a:gd name="T11" fmla="*/ 14 h 79"/>
                <a:gd name="T12" fmla="*/ 182 w 184"/>
                <a:gd name="T13" fmla="*/ 45 h 79"/>
                <a:gd name="T14" fmla="*/ 182 w 184"/>
                <a:gd name="T15" fmla="*/ 52 h 79"/>
                <a:gd name="T16" fmla="*/ 150 w 184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1" y="63"/>
                    <a:pt x="0" y="49"/>
                    <a:pt x="2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1"/>
                    <a:pt x="18" y="0"/>
                    <a:pt x="33" y="1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2" y="16"/>
                    <a:pt x="184" y="30"/>
                    <a:pt x="182" y="45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7"/>
                    <a:pt x="166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iṥlïḍê">
              <a:extLst>
                <a:ext uri="{FF2B5EF4-FFF2-40B4-BE49-F238E27FC236}">
                  <a16:creationId xmlns:a16="http://schemas.microsoft.com/office/drawing/2014/main" id="{C1CD181D-280D-4085-B8A4-380F8FEFC5C9}"/>
                </a:ext>
              </a:extLst>
            </p:cNvPr>
            <p:cNvSpPr/>
            <p:nvPr/>
          </p:nvSpPr>
          <p:spPr bwMode="auto">
            <a:xfrm>
              <a:off x="6716381" y="4616998"/>
              <a:ext cx="286719" cy="123289"/>
            </a:xfrm>
            <a:custGeom>
              <a:avLst/>
              <a:gdLst>
                <a:gd name="T0" fmla="*/ 150 w 184"/>
                <a:gd name="T1" fmla="*/ 77 h 79"/>
                <a:gd name="T2" fmla="*/ 27 w 184"/>
                <a:gd name="T3" fmla="*/ 65 h 79"/>
                <a:gd name="T4" fmla="*/ 2 w 184"/>
                <a:gd name="T5" fmla="*/ 34 h 79"/>
                <a:gd name="T6" fmla="*/ 2 w 184"/>
                <a:gd name="T7" fmla="*/ 27 h 79"/>
                <a:gd name="T8" fmla="*/ 33 w 184"/>
                <a:gd name="T9" fmla="*/ 2 h 79"/>
                <a:gd name="T10" fmla="*/ 157 w 184"/>
                <a:gd name="T11" fmla="*/ 14 h 79"/>
                <a:gd name="T12" fmla="*/ 182 w 184"/>
                <a:gd name="T13" fmla="*/ 45 h 79"/>
                <a:gd name="T14" fmla="*/ 181 w 184"/>
                <a:gd name="T15" fmla="*/ 52 h 79"/>
                <a:gd name="T16" fmla="*/ 150 w 184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7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1" y="63"/>
                    <a:pt x="0" y="49"/>
                    <a:pt x="2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1"/>
                    <a:pt x="18" y="0"/>
                    <a:pt x="33" y="2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2" y="16"/>
                    <a:pt x="184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80" y="68"/>
                    <a:pt x="166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íślíḑè">
              <a:extLst>
                <a:ext uri="{FF2B5EF4-FFF2-40B4-BE49-F238E27FC236}">
                  <a16:creationId xmlns:a16="http://schemas.microsoft.com/office/drawing/2014/main" id="{A2C0E80B-CF86-4FBB-9EC4-9A339147B4C6}"/>
                </a:ext>
              </a:extLst>
            </p:cNvPr>
            <p:cNvSpPr/>
            <p:nvPr/>
          </p:nvSpPr>
          <p:spPr bwMode="auto">
            <a:xfrm>
              <a:off x="7106318" y="4188355"/>
              <a:ext cx="285285" cy="123289"/>
            </a:xfrm>
            <a:custGeom>
              <a:avLst/>
              <a:gdLst>
                <a:gd name="T0" fmla="*/ 150 w 184"/>
                <a:gd name="T1" fmla="*/ 78 h 79"/>
                <a:gd name="T2" fmla="*/ 27 w 184"/>
                <a:gd name="T3" fmla="*/ 65 h 79"/>
                <a:gd name="T4" fmla="*/ 2 w 184"/>
                <a:gd name="T5" fmla="*/ 34 h 79"/>
                <a:gd name="T6" fmla="*/ 2 w 184"/>
                <a:gd name="T7" fmla="*/ 27 h 79"/>
                <a:gd name="T8" fmla="*/ 33 w 184"/>
                <a:gd name="T9" fmla="*/ 2 h 79"/>
                <a:gd name="T10" fmla="*/ 157 w 184"/>
                <a:gd name="T11" fmla="*/ 15 h 79"/>
                <a:gd name="T12" fmla="*/ 182 w 184"/>
                <a:gd name="T13" fmla="*/ 46 h 79"/>
                <a:gd name="T14" fmla="*/ 182 w 184"/>
                <a:gd name="T15" fmla="*/ 52 h 79"/>
                <a:gd name="T16" fmla="*/ 150 w 184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8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1" y="63"/>
                    <a:pt x="0" y="49"/>
                    <a:pt x="2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2"/>
                    <a:pt x="18" y="0"/>
                    <a:pt x="33" y="2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72" y="16"/>
                    <a:pt x="184" y="30"/>
                    <a:pt x="182" y="46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0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ïšḻíďè">
              <a:extLst>
                <a:ext uri="{FF2B5EF4-FFF2-40B4-BE49-F238E27FC236}">
                  <a16:creationId xmlns:a16="http://schemas.microsoft.com/office/drawing/2014/main" id="{FD17ED91-1EA0-461E-B020-2D2FE56B3EFE}"/>
                </a:ext>
              </a:extLst>
            </p:cNvPr>
            <p:cNvSpPr/>
            <p:nvPr/>
          </p:nvSpPr>
          <p:spPr bwMode="auto">
            <a:xfrm>
              <a:off x="7083380" y="4407694"/>
              <a:ext cx="285285" cy="121856"/>
            </a:xfrm>
            <a:custGeom>
              <a:avLst/>
              <a:gdLst>
                <a:gd name="T0" fmla="*/ 150 w 183"/>
                <a:gd name="T1" fmla="*/ 77 h 79"/>
                <a:gd name="T2" fmla="*/ 27 w 183"/>
                <a:gd name="T3" fmla="*/ 64 h 79"/>
                <a:gd name="T4" fmla="*/ 1 w 183"/>
                <a:gd name="T5" fmla="*/ 33 h 79"/>
                <a:gd name="T6" fmla="*/ 2 w 183"/>
                <a:gd name="T7" fmla="*/ 27 h 79"/>
                <a:gd name="T8" fmla="*/ 33 w 183"/>
                <a:gd name="T9" fmla="*/ 1 h 79"/>
                <a:gd name="T10" fmla="*/ 156 w 183"/>
                <a:gd name="T11" fmla="*/ 14 h 79"/>
                <a:gd name="T12" fmla="*/ 182 w 183"/>
                <a:gd name="T13" fmla="*/ 45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1" y="63"/>
                    <a:pt x="0" y="49"/>
                    <a:pt x="1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1"/>
                    <a:pt x="17" y="0"/>
                    <a:pt x="33" y="1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7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îṣḻîdè">
              <a:extLst>
                <a:ext uri="{FF2B5EF4-FFF2-40B4-BE49-F238E27FC236}">
                  <a16:creationId xmlns:a16="http://schemas.microsoft.com/office/drawing/2014/main" id="{5F5D6B03-DB16-4B27-B973-7EB71D2FB19B}"/>
                </a:ext>
              </a:extLst>
            </p:cNvPr>
            <p:cNvSpPr/>
            <p:nvPr/>
          </p:nvSpPr>
          <p:spPr bwMode="auto">
            <a:xfrm>
              <a:off x="7071911" y="4528115"/>
              <a:ext cx="283851" cy="123289"/>
            </a:xfrm>
            <a:custGeom>
              <a:avLst/>
              <a:gdLst>
                <a:gd name="T0" fmla="*/ 150 w 183"/>
                <a:gd name="T1" fmla="*/ 78 h 79"/>
                <a:gd name="T2" fmla="*/ 26 w 183"/>
                <a:gd name="T3" fmla="*/ 65 h 79"/>
                <a:gd name="T4" fmla="*/ 1 w 183"/>
                <a:gd name="T5" fmla="*/ 34 h 79"/>
                <a:gd name="T6" fmla="*/ 2 w 183"/>
                <a:gd name="T7" fmla="*/ 27 h 79"/>
                <a:gd name="T8" fmla="*/ 33 w 183"/>
                <a:gd name="T9" fmla="*/ 2 h 79"/>
                <a:gd name="T10" fmla="*/ 156 w 183"/>
                <a:gd name="T11" fmla="*/ 15 h 79"/>
                <a:gd name="T12" fmla="*/ 182 w 183"/>
                <a:gd name="T13" fmla="*/ 46 h 79"/>
                <a:gd name="T14" fmla="*/ 181 w 183"/>
                <a:gd name="T15" fmla="*/ 52 h 79"/>
                <a:gd name="T16" fmla="*/ 150 w 183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8"/>
                  </a:moveTo>
                  <a:cubicBezTo>
                    <a:pt x="26" y="65"/>
                    <a:pt x="26" y="65"/>
                    <a:pt x="26" y="65"/>
                  </a:cubicBezTo>
                  <a:cubicBezTo>
                    <a:pt x="11" y="63"/>
                    <a:pt x="0" y="49"/>
                    <a:pt x="1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2"/>
                    <a:pt x="17" y="0"/>
                    <a:pt x="33" y="2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72" y="16"/>
                    <a:pt x="183" y="30"/>
                    <a:pt x="182" y="46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8"/>
                    <a:pt x="165" y="79"/>
                    <a:pt x="150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ṣ1ïḍe">
              <a:extLst>
                <a:ext uri="{FF2B5EF4-FFF2-40B4-BE49-F238E27FC236}">
                  <a16:creationId xmlns:a16="http://schemas.microsoft.com/office/drawing/2014/main" id="{9E0CB6DC-6DD1-43CA-AA64-A68FDB378339}"/>
                </a:ext>
              </a:extLst>
            </p:cNvPr>
            <p:cNvSpPr/>
            <p:nvPr/>
          </p:nvSpPr>
          <p:spPr bwMode="auto">
            <a:xfrm>
              <a:off x="7057576" y="4652838"/>
              <a:ext cx="286719" cy="120421"/>
            </a:xfrm>
            <a:custGeom>
              <a:avLst/>
              <a:gdLst>
                <a:gd name="T0" fmla="*/ 151 w 184"/>
                <a:gd name="T1" fmla="*/ 77 h 78"/>
                <a:gd name="T2" fmla="*/ 27 w 184"/>
                <a:gd name="T3" fmla="*/ 64 h 78"/>
                <a:gd name="T4" fmla="*/ 2 w 184"/>
                <a:gd name="T5" fmla="*/ 33 h 78"/>
                <a:gd name="T6" fmla="*/ 3 w 184"/>
                <a:gd name="T7" fmla="*/ 27 h 78"/>
                <a:gd name="T8" fmla="*/ 34 w 184"/>
                <a:gd name="T9" fmla="*/ 1 h 78"/>
                <a:gd name="T10" fmla="*/ 157 w 184"/>
                <a:gd name="T11" fmla="*/ 14 h 78"/>
                <a:gd name="T12" fmla="*/ 183 w 184"/>
                <a:gd name="T13" fmla="*/ 45 h 78"/>
                <a:gd name="T14" fmla="*/ 182 w 184"/>
                <a:gd name="T15" fmla="*/ 52 h 78"/>
                <a:gd name="T16" fmla="*/ 151 w 184"/>
                <a:gd name="T17" fmla="*/ 7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8">
                  <a:moveTo>
                    <a:pt x="151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2" y="63"/>
                    <a:pt x="0" y="49"/>
                    <a:pt x="2" y="33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11"/>
                    <a:pt x="18" y="0"/>
                    <a:pt x="34" y="1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3" y="15"/>
                    <a:pt x="184" y="29"/>
                    <a:pt x="183" y="45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7"/>
                    <a:pt x="166" y="78"/>
                    <a:pt x="151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iŝlíde">
              <a:extLst>
                <a:ext uri="{FF2B5EF4-FFF2-40B4-BE49-F238E27FC236}">
                  <a16:creationId xmlns:a16="http://schemas.microsoft.com/office/drawing/2014/main" id="{C300A540-6F68-435B-960E-B04B2A257FDC}"/>
                </a:ext>
              </a:extLst>
            </p:cNvPr>
            <p:cNvSpPr/>
            <p:nvPr/>
          </p:nvSpPr>
          <p:spPr bwMode="auto">
            <a:xfrm>
              <a:off x="7338559" y="4138179"/>
              <a:ext cx="81716" cy="126156"/>
            </a:xfrm>
            <a:custGeom>
              <a:avLst/>
              <a:gdLst>
                <a:gd name="T0" fmla="*/ 57 w 57"/>
                <a:gd name="T1" fmla="*/ 19 h 88"/>
                <a:gd name="T2" fmla="*/ 35 w 57"/>
                <a:gd name="T3" fmla="*/ 0 h 88"/>
                <a:gd name="T4" fmla="*/ 0 w 57"/>
                <a:gd name="T5" fmla="*/ 21 h 88"/>
                <a:gd name="T6" fmla="*/ 2 w 57"/>
                <a:gd name="T7" fmla="*/ 76 h 88"/>
                <a:gd name="T8" fmla="*/ 35 w 57"/>
                <a:gd name="T9" fmla="*/ 88 h 88"/>
                <a:gd name="T10" fmla="*/ 57 w 57"/>
                <a:gd name="T11" fmla="*/ 1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88">
                  <a:moveTo>
                    <a:pt x="57" y="19"/>
                  </a:moveTo>
                  <a:lnTo>
                    <a:pt x="35" y="0"/>
                  </a:lnTo>
                  <a:lnTo>
                    <a:pt x="0" y="21"/>
                  </a:lnTo>
                  <a:lnTo>
                    <a:pt x="2" y="76"/>
                  </a:lnTo>
                  <a:lnTo>
                    <a:pt x="35" y="88"/>
                  </a:lnTo>
                  <a:lnTo>
                    <a:pt x="57" y="19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ï$ḻîḋè">
              <a:extLst>
                <a:ext uri="{FF2B5EF4-FFF2-40B4-BE49-F238E27FC236}">
                  <a16:creationId xmlns:a16="http://schemas.microsoft.com/office/drawing/2014/main" id="{312D07BE-3562-419B-A09E-52C2DBF58EFE}"/>
                </a:ext>
              </a:extLst>
            </p:cNvPr>
            <p:cNvSpPr/>
            <p:nvPr/>
          </p:nvSpPr>
          <p:spPr bwMode="auto">
            <a:xfrm>
              <a:off x="10058080" y="4287272"/>
              <a:ext cx="153395" cy="90317"/>
            </a:xfrm>
            <a:custGeom>
              <a:avLst/>
              <a:gdLst>
                <a:gd name="T0" fmla="*/ 76 w 98"/>
                <a:gd name="T1" fmla="*/ 0 h 58"/>
                <a:gd name="T2" fmla="*/ 51 w 98"/>
                <a:gd name="T3" fmla="*/ 5 h 58"/>
                <a:gd name="T4" fmla="*/ 4 w 98"/>
                <a:gd name="T5" fmla="*/ 50 h 58"/>
                <a:gd name="T6" fmla="*/ 47 w 98"/>
                <a:gd name="T7" fmla="*/ 57 h 58"/>
                <a:gd name="T8" fmla="*/ 73 w 98"/>
                <a:gd name="T9" fmla="*/ 39 h 58"/>
                <a:gd name="T10" fmla="*/ 87 w 98"/>
                <a:gd name="T11" fmla="*/ 44 h 58"/>
                <a:gd name="T12" fmla="*/ 98 w 98"/>
                <a:gd name="T13" fmla="*/ 29 h 58"/>
                <a:gd name="T14" fmla="*/ 76 w 98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58">
                  <a:moveTo>
                    <a:pt x="76" y="0"/>
                  </a:moveTo>
                  <a:cubicBezTo>
                    <a:pt x="76" y="0"/>
                    <a:pt x="51" y="5"/>
                    <a:pt x="51" y="5"/>
                  </a:cubicBezTo>
                  <a:cubicBezTo>
                    <a:pt x="41" y="8"/>
                    <a:pt x="10" y="42"/>
                    <a:pt x="4" y="50"/>
                  </a:cubicBezTo>
                  <a:cubicBezTo>
                    <a:pt x="0" y="54"/>
                    <a:pt x="43" y="58"/>
                    <a:pt x="47" y="57"/>
                  </a:cubicBezTo>
                  <a:cubicBezTo>
                    <a:pt x="54" y="56"/>
                    <a:pt x="66" y="43"/>
                    <a:pt x="73" y="39"/>
                  </a:cubicBezTo>
                  <a:cubicBezTo>
                    <a:pt x="87" y="44"/>
                    <a:pt x="87" y="44"/>
                    <a:pt x="87" y="44"/>
                  </a:cubicBezTo>
                  <a:cubicBezTo>
                    <a:pt x="98" y="29"/>
                    <a:pt x="98" y="29"/>
                    <a:pt x="98" y="29"/>
                  </a:cubicBezTo>
                  <a:lnTo>
                    <a:pt x="76" y="0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îśḻiḋè">
              <a:extLst>
                <a:ext uri="{FF2B5EF4-FFF2-40B4-BE49-F238E27FC236}">
                  <a16:creationId xmlns:a16="http://schemas.microsoft.com/office/drawing/2014/main" id="{2190163A-DAED-4D20-B184-FAC29CCA973D}"/>
                </a:ext>
              </a:extLst>
            </p:cNvPr>
            <p:cNvSpPr/>
            <p:nvPr/>
          </p:nvSpPr>
          <p:spPr bwMode="auto">
            <a:xfrm>
              <a:off x="11021454" y="5710828"/>
              <a:ext cx="130457" cy="141926"/>
            </a:xfrm>
            <a:custGeom>
              <a:avLst/>
              <a:gdLst>
                <a:gd name="T0" fmla="*/ 87 w 91"/>
                <a:gd name="T1" fmla="*/ 30 h 99"/>
                <a:gd name="T2" fmla="*/ 91 w 91"/>
                <a:gd name="T3" fmla="*/ 61 h 99"/>
                <a:gd name="T4" fmla="*/ 34 w 91"/>
                <a:gd name="T5" fmla="*/ 99 h 99"/>
                <a:gd name="T6" fmla="*/ 0 w 91"/>
                <a:gd name="T7" fmla="*/ 73 h 99"/>
                <a:gd name="T8" fmla="*/ 26 w 91"/>
                <a:gd name="T9" fmla="*/ 38 h 99"/>
                <a:gd name="T10" fmla="*/ 84 w 91"/>
                <a:gd name="T11" fmla="*/ 0 h 99"/>
                <a:gd name="T12" fmla="*/ 87 w 91"/>
                <a:gd name="T13" fmla="*/ 3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99">
                  <a:moveTo>
                    <a:pt x="87" y="30"/>
                  </a:moveTo>
                  <a:lnTo>
                    <a:pt x="91" y="61"/>
                  </a:lnTo>
                  <a:lnTo>
                    <a:pt x="34" y="99"/>
                  </a:lnTo>
                  <a:lnTo>
                    <a:pt x="0" y="73"/>
                  </a:lnTo>
                  <a:lnTo>
                    <a:pt x="26" y="38"/>
                  </a:lnTo>
                  <a:lnTo>
                    <a:pt x="84" y="0"/>
                  </a:lnTo>
                  <a:lnTo>
                    <a:pt x="87" y="30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iş1iďé">
              <a:extLst>
                <a:ext uri="{FF2B5EF4-FFF2-40B4-BE49-F238E27FC236}">
                  <a16:creationId xmlns:a16="http://schemas.microsoft.com/office/drawing/2014/main" id="{192C9F68-0E8D-4896-A758-A5CC9D1D2297}"/>
                </a:ext>
              </a:extLst>
            </p:cNvPr>
            <p:cNvSpPr/>
            <p:nvPr/>
          </p:nvSpPr>
          <p:spPr bwMode="auto">
            <a:xfrm>
              <a:off x="10794946" y="4416296"/>
              <a:ext cx="367000" cy="1351876"/>
            </a:xfrm>
            <a:custGeom>
              <a:avLst/>
              <a:gdLst>
                <a:gd name="T0" fmla="*/ 247 w 256"/>
                <a:gd name="T1" fmla="*/ 924 h 943"/>
                <a:gd name="T2" fmla="*/ 202 w 256"/>
                <a:gd name="T3" fmla="*/ 536 h 943"/>
                <a:gd name="T4" fmla="*/ 256 w 256"/>
                <a:gd name="T5" fmla="*/ 102 h 943"/>
                <a:gd name="T6" fmla="*/ 244 w 256"/>
                <a:gd name="T7" fmla="*/ 10 h 943"/>
                <a:gd name="T8" fmla="*/ 8 w 256"/>
                <a:gd name="T9" fmla="*/ 0 h 943"/>
                <a:gd name="T10" fmla="*/ 0 w 256"/>
                <a:gd name="T11" fmla="*/ 151 h 943"/>
                <a:gd name="T12" fmla="*/ 39 w 256"/>
                <a:gd name="T13" fmla="*/ 537 h 943"/>
                <a:gd name="T14" fmla="*/ 188 w 256"/>
                <a:gd name="T15" fmla="*/ 943 h 943"/>
                <a:gd name="T16" fmla="*/ 247 w 256"/>
                <a:gd name="T17" fmla="*/ 924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6" h="943">
                  <a:moveTo>
                    <a:pt x="247" y="924"/>
                  </a:moveTo>
                  <a:lnTo>
                    <a:pt x="202" y="536"/>
                  </a:lnTo>
                  <a:lnTo>
                    <a:pt x="256" y="102"/>
                  </a:lnTo>
                  <a:lnTo>
                    <a:pt x="244" y="10"/>
                  </a:lnTo>
                  <a:lnTo>
                    <a:pt x="8" y="0"/>
                  </a:lnTo>
                  <a:lnTo>
                    <a:pt x="0" y="151"/>
                  </a:lnTo>
                  <a:lnTo>
                    <a:pt x="39" y="537"/>
                  </a:lnTo>
                  <a:lnTo>
                    <a:pt x="188" y="943"/>
                  </a:lnTo>
                  <a:lnTo>
                    <a:pt x="247" y="924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iṩľïḓê">
              <a:extLst>
                <a:ext uri="{FF2B5EF4-FFF2-40B4-BE49-F238E27FC236}">
                  <a16:creationId xmlns:a16="http://schemas.microsoft.com/office/drawing/2014/main" id="{80E44DE9-4464-4C13-9DC8-F18446FBFDBB}"/>
                </a:ext>
              </a:extLst>
            </p:cNvPr>
            <p:cNvSpPr/>
            <p:nvPr/>
          </p:nvSpPr>
          <p:spPr bwMode="auto">
            <a:xfrm>
              <a:off x="10162734" y="3815621"/>
              <a:ext cx="589206" cy="541897"/>
            </a:xfrm>
            <a:custGeom>
              <a:avLst/>
              <a:gdLst>
                <a:gd name="T0" fmla="*/ 411 w 411"/>
                <a:gd name="T1" fmla="*/ 0 h 378"/>
                <a:gd name="T2" fmla="*/ 305 w 411"/>
                <a:gd name="T3" fmla="*/ 62 h 378"/>
                <a:gd name="T4" fmla="*/ 239 w 411"/>
                <a:gd name="T5" fmla="*/ 179 h 378"/>
                <a:gd name="T6" fmla="*/ 0 w 411"/>
                <a:gd name="T7" fmla="*/ 323 h 378"/>
                <a:gd name="T8" fmla="*/ 35 w 411"/>
                <a:gd name="T9" fmla="*/ 378 h 378"/>
                <a:gd name="T10" fmla="*/ 241 w 411"/>
                <a:gd name="T11" fmla="*/ 310 h 378"/>
                <a:gd name="T12" fmla="*/ 346 w 411"/>
                <a:gd name="T13" fmla="*/ 256 h 378"/>
                <a:gd name="T14" fmla="*/ 411 w 411"/>
                <a:gd name="T15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1" h="378">
                  <a:moveTo>
                    <a:pt x="411" y="0"/>
                  </a:moveTo>
                  <a:lnTo>
                    <a:pt x="305" y="62"/>
                  </a:lnTo>
                  <a:lnTo>
                    <a:pt x="239" y="179"/>
                  </a:lnTo>
                  <a:lnTo>
                    <a:pt x="0" y="323"/>
                  </a:lnTo>
                  <a:lnTo>
                    <a:pt x="35" y="378"/>
                  </a:lnTo>
                  <a:lnTo>
                    <a:pt x="241" y="310"/>
                  </a:lnTo>
                  <a:lnTo>
                    <a:pt x="346" y="256"/>
                  </a:lnTo>
                  <a:lnTo>
                    <a:pt x="411" y="0"/>
                  </a:ln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îṡḻidê">
              <a:extLst>
                <a:ext uri="{FF2B5EF4-FFF2-40B4-BE49-F238E27FC236}">
                  <a16:creationId xmlns:a16="http://schemas.microsoft.com/office/drawing/2014/main" id="{DD10144D-2E60-492D-84A7-C310B6A708B4}"/>
                </a:ext>
              </a:extLst>
            </p:cNvPr>
            <p:cNvSpPr/>
            <p:nvPr/>
          </p:nvSpPr>
          <p:spPr bwMode="auto">
            <a:xfrm>
              <a:off x="10558404" y="4426331"/>
              <a:ext cx="342629" cy="1336106"/>
            </a:xfrm>
            <a:custGeom>
              <a:avLst/>
              <a:gdLst>
                <a:gd name="T0" fmla="*/ 0 w 239"/>
                <a:gd name="T1" fmla="*/ 38 h 932"/>
                <a:gd name="T2" fmla="*/ 0 w 239"/>
                <a:gd name="T3" fmla="*/ 428 h 932"/>
                <a:gd name="T4" fmla="*/ 78 w 239"/>
                <a:gd name="T5" fmla="*/ 932 h 932"/>
                <a:gd name="T6" fmla="*/ 135 w 239"/>
                <a:gd name="T7" fmla="*/ 931 h 932"/>
                <a:gd name="T8" fmla="*/ 166 w 239"/>
                <a:gd name="T9" fmla="*/ 466 h 932"/>
                <a:gd name="T10" fmla="*/ 239 w 239"/>
                <a:gd name="T11" fmla="*/ 0 h 932"/>
                <a:gd name="T12" fmla="*/ 0 w 239"/>
                <a:gd name="T13" fmla="*/ 38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9" h="932">
                  <a:moveTo>
                    <a:pt x="0" y="38"/>
                  </a:moveTo>
                  <a:lnTo>
                    <a:pt x="0" y="428"/>
                  </a:lnTo>
                  <a:lnTo>
                    <a:pt x="78" y="932"/>
                  </a:lnTo>
                  <a:lnTo>
                    <a:pt x="135" y="931"/>
                  </a:lnTo>
                  <a:lnTo>
                    <a:pt x="166" y="466"/>
                  </a:lnTo>
                  <a:lnTo>
                    <a:pt x="239" y="0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íṡḷïḓé">
              <a:extLst>
                <a:ext uri="{FF2B5EF4-FFF2-40B4-BE49-F238E27FC236}">
                  <a16:creationId xmlns:a16="http://schemas.microsoft.com/office/drawing/2014/main" id="{C6A78DA5-4249-4424-9036-5A1D2984B0B2}"/>
                </a:ext>
              </a:extLst>
            </p:cNvPr>
            <p:cNvSpPr/>
            <p:nvPr/>
          </p:nvSpPr>
          <p:spPr bwMode="auto">
            <a:xfrm>
              <a:off x="10620048" y="5750969"/>
              <a:ext cx="131890" cy="88882"/>
            </a:xfrm>
            <a:custGeom>
              <a:avLst/>
              <a:gdLst>
                <a:gd name="T0" fmla="*/ 92 w 92"/>
                <a:gd name="T1" fmla="*/ 30 h 62"/>
                <a:gd name="T2" fmla="*/ 30 w 92"/>
                <a:gd name="T3" fmla="*/ 62 h 62"/>
                <a:gd name="T4" fmla="*/ 0 w 92"/>
                <a:gd name="T5" fmla="*/ 32 h 62"/>
                <a:gd name="T6" fmla="*/ 30 w 92"/>
                <a:gd name="T7" fmla="*/ 1 h 62"/>
                <a:gd name="T8" fmla="*/ 91 w 92"/>
                <a:gd name="T9" fmla="*/ 0 h 62"/>
                <a:gd name="T10" fmla="*/ 92 w 92"/>
                <a:gd name="T11" fmla="*/ 3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62">
                  <a:moveTo>
                    <a:pt x="92" y="30"/>
                  </a:moveTo>
                  <a:lnTo>
                    <a:pt x="30" y="62"/>
                  </a:lnTo>
                  <a:lnTo>
                    <a:pt x="0" y="32"/>
                  </a:lnTo>
                  <a:lnTo>
                    <a:pt x="30" y="1"/>
                  </a:lnTo>
                  <a:lnTo>
                    <a:pt x="91" y="0"/>
                  </a:lnTo>
                  <a:lnTo>
                    <a:pt x="92" y="3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îşľîďê">
              <a:extLst>
                <a:ext uri="{FF2B5EF4-FFF2-40B4-BE49-F238E27FC236}">
                  <a16:creationId xmlns:a16="http://schemas.microsoft.com/office/drawing/2014/main" id="{6A5F07F9-6BB7-48A6-9B19-7CBB7854EBDC}"/>
                </a:ext>
              </a:extLst>
            </p:cNvPr>
            <p:cNvSpPr/>
            <p:nvPr/>
          </p:nvSpPr>
          <p:spPr bwMode="auto">
            <a:xfrm>
              <a:off x="10349099" y="3786949"/>
              <a:ext cx="850120" cy="1007815"/>
            </a:xfrm>
            <a:custGeom>
              <a:avLst/>
              <a:gdLst>
                <a:gd name="T0" fmla="*/ 545 w 546"/>
                <a:gd name="T1" fmla="*/ 568 h 648"/>
                <a:gd name="T2" fmla="*/ 543 w 546"/>
                <a:gd name="T3" fmla="*/ 535 h 648"/>
                <a:gd name="T4" fmla="*/ 533 w 546"/>
                <a:gd name="T5" fmla="*/ 409 h 648"/>
                <a:gd name="T6" fmla="*/ 516 w 546"/>
                <a:gd name="T7" fmla="*/ 242 h 648"/>
                <a:gd name="T8" fmla="*/ 479 w 546"/>
                <a:gd name="T9" fmla="*/ 107 h 648"/>
                <a:gd name="T10" fmla="*/ 311 w 546"/>
                <a:gd name="T11" fmla="*/ 9 h 648"/>
                <a:gd name="T12" fmla="*/ 181 w 546"/>
                <a:gd name="T13" fmla="*/ 85 h 648"/>
                <a:gd name="T14" fmla="*/ 175 w 546"/>
                <a:gd name="T15" fmla="*/ 123 h 648"/>
                <a:gd name="T16" fmla="*/ 168 w 546"/>
                <a:gd name="T17" fmla="*/ 161 h 648"/>
                <a:gd name="T18" fmla="*/ 161 w 546"/>
                <a:gd name="T19" fmla="*/ 190 h 648"/>
                <a:gd name="T20" fmla="*/ 161 w 546"/>
                <a:gd name="T21" fmla="*/ 190 h 648"/>
                <a:gd name="T22" fmla="*/ 89 w 546"/>
                <a:gd name="T23" fmla="*/ 430 h 648"/>
                <a:gd name="T24" fmla="*/ 100 w 546"/>
                <a:gd name="T25" fmla="*/ 567 h 648"/>
                <a:gd name="T26" fmla="*/ 154 w 546"/>
                <a:gd name="T27" fmla="*/ 581 h 648"/>
                <a:gd name="T28" fmla="*/ 277 w 546"/>
                <a:gd name="T29" fmla="*/ 573 h 648"/>
                <a:gd name="T30" fmla="*/ 392 w 546"/>
                <a:gd name="T31" fmla="*/ 583 h 648"/>
                <a:gd name="T32" fmla="*/ 466 w 546"/>
                <a:gd name="T33" fmla="*/ 606 h 648"/>
                <a:gd name="T34" fmla="*/ 526 w 546"/>
                <a:gd name="T35" fmla="*/ 645 h 648"/>
                <a:gd name="T36" fmla="*/ 533 w 546"/>
                <a:gd name="T37" fmla="*/ 647 h 648"/>
                <a:gd name="T38" fmla="*/ 545 w 546"/>
                <a:gd name="T39" fmla="*/ 568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6" h="648">
                  <a:moveTo>
                    <a:pt x="545" y="568"/>
                  </a:moveTo>
                  <a:cubicBezTo>
                    <a:pt x="544" y="553"/>
                    <a:pt x="543" y="540"/>
                    <a:pt x="543" y="535"/>
                  </a:cubicBezTo>
                  <a:cubicBezTo>
                    <a:pt x="542" y="493"/>
                    <a:pt x="538" y="451"/>
                    <a:pt x="533" y="409"/>
                  </a:cubicBezTo>
                  <a:cubicBezTo>
                    <a:pt x="528" y="372"/>
                    <a:pt x="522" y="280"/>
                    <a:pt x="516" y="242"/>
                  </a:cubicBezTo>
                  <a:cubicBezTo>
                    <a:pt x="511" y="212"/>
                    <a:pt x="492" y="135"/>
                    <a:pt x="479" y="107"/>
                  </a:cubicBezTo>
                  <a:cubicBezTo>
                    <a:pt x="446" y="36"/>
                    <a:pt x="456" y="30"/>
                    <a:pt x="311" y="9"/>
                  </a:cubicBezTo>
                  <a:cubicBezTo>
                    <a:pt x="248" y="0"/>
                    <a:pt x="233" y="39"/>
                    <a:pt x="181" y="85"/>
                  </a:cubicBezTo>
                  <a:cubicBezTo>
                    <a:pt x="176" y="89"/>
                    <a:pt x="176" y="116"/>
                    <a:pt x="175" y="123"/>
                  </a:cubicBezTo>
                  <a:cubicBezTo>
                    <a:pt x="173" y="136"/>
                    <a:pt x="170" y="148"/>
                    <a:pt x="168" y="161"/>
                  </a:cubicBezTo>
                  <a:cubicBezTo>
                    <a:pt x="166" y="170"/>
                    <a:pt x="164" y="180"/>
                    <a:pt x="161" y="190"/>
                  </a:cubicBezTo>
                  <a:cubicBezTo>
                    <a:pt x="161" y="190"/>
                    <a:pt x="161" y="190"/>
                    <a:pt x="161" y="190"/>
                  </a:cubicBezTo>
                  <a:cubicBezTo>
                    <a:pt x="161" y="190"/>
                    <a:pt x="117" y="388"/>
                    <a:pt x="89" y="430"/>
                  </a:cubicBezTo>
                  <a:cubicBezTo>
                    <a:pt x="60" y="472"/>
                    <a:pt x="0" y="531"/>
                    <a:pt x="100" y="567"/>
                  </a:cubicBezTo>
                  <a:cubicBezTo>
                    <a:pt x="118" y="573"/>
                    <a:pt x="135" y="578"/>
                    <a:pt x="154" y="581"/>
                  </a:cubicBezTo>
                  <a:cubicBezTo>
                    <a:pt x="154" y="581"/>
                    <a:pt x="235" y="572"/>
                    <a:pt x="277" y="573"/>
                  </a:cubicBezTo>
                  <a:cubicBezTo>
                    <a:pt x="316" y="573"/>
                    <a:pt x="355" y="577"/>
                    <a:pt x="392" y="583"/>
                  </a:cubicBezTo>
                  <a:cubicBezTo>
                    <a:pt x="418" y="588"/>
                    <a:pt x="444" y="594"/>
                    <a:pt x="466" y="606"/>
                  </a:cubicBezTo>
                  <a:cubicBezTo>
                    <a:pt x="488" y="617"/>
                    <a:pt x="504" y="634"/>
                    <a:pt x="526" y="645"/>
                  </a:cubicBezTo>
                  <a:cubicBezTo>
                    <a:pt x="528" y="646"/>
                    <a:pt x="530" y="648"/>
                    <a:pt x="533" y="647"/>
                  </a:cubicBezTo>
                  <a:cubicBezTo>
                    <a:pt x="545" y="646"/>
                    <a:pt x="546" y="601"/>
                    <a:pt x="545" y="56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í$lïďè">
              <a:extLst>
                <a:ext uri="{FF2B5EF4-FFF2-40B4-BE49-F238E27FC236}">
                  <a16:creationId xmlns:a16="http://schemas.microsoft.com/office/drawing/2014/main" id="{AA6BCDD3-84BC-4F6A-8908-509BD8168C6F}"/>
                </a:ext>
              </a:extLst>
            </p:cNvPr>
            <p:cNvSpPr/>
            <p:nvPr/>
          </p:nvSpPr>
          <p:spPr bwMode="auto">
            <a:xfrm>
              <a:off x="10753372" y="3538938"/>
              <a:ext cx="219340" cy="285285"/>
            </a:xfrm>
            <a:custGeom>
              <a:avLst/>
              <a:gdLst>
                <a:gd name="T0" fmla="*/ 57 w 141"/>
                <a:gd name="T1" fmla="*/ 177 h 184"/>
                <a:gd name="T2" fmla="*/ 99 w 141"/>
                <a:gd name="T3" fmla="*/ 178 h 184"/>
                <a:gd name="T4" fmla="*/ 106 w 141"/>
                <a:gd name="T5" fmla="*/ 170 h 184"/>
                <a:gd name="T6" fmla="*/ 106 w 141"/>
                <a:gd name="T7" fmla="*/ 137 h 184"/>
                <a:gd name="T8" fmla="*/ 139 w 141"/>
                <a:gd name="T9" fmla="*/ 113 h 184"/>
                <a:gd name="T10" fmla="*/ 140 w 141"/>
                <a:gd name="T11" fmla="*/ 100 h 184"/>
                <a:gd name="T12" fmla="*/ 135 w 141"/>
                <a:gd name="T13" fmla="*/ 44 h 184"/>
                <a:gd name="T14" fmla="*/ 130 w 141"/>
                <a:gd name="T15" fmla="*/ 25 h 184"/>
                <a:gd name="T16" fmla="*/ 103 w 141"/>
                <a:gd name="T17" fmla="*/ 8 h 184"/>
                <a:gd name="T18" fmla="*/ 20 w 141"/>
                <a:gd name="T19" fmla="*/ 21 h 184"/>
                <a:gd name="T20" fmla="*/ 5 w 141"/>
                <a:gd name="T21" fmla="*/ 38 h 184"/>
                <a:gd name="T22" fmla="*/ 4 w 141"/>
                <a:gd name="T23" fmla="*/ 73 h 184"/>
                <a:gd name="T24" fmla="*/ 10 w 141"/>
                <a:gd name="T25" fmla="*/ 105 h 184"/>
                <a:gd name="T26" fmla="*/ 27 w 141"/>
                <a:gd name="T27" fmla="*/ 137 h 184"/>
                <a:gd name="T28" fmla="*/ 46 w 141"/>
                <a:gd name="T29" fmla="*/ 144 h 184"/>
                <a:gd name="T30" fmla="*/ 57 w 141"/>
                <a:gd name="T31" fmla="*/ 17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1" h="184">
                  <a:moveTo>
                    <a:pt x="57" y="177"/>
                  </a:moveTo>
                  <a:cubicBezTo>
                    <a:pt x="64" y="181"/>
                    <a:pt x="81" y="184"/>
                    <a:pt x="99" y="178"/>
                  </a:cubicBezTo>
                  <a:cubicBezTo>
                    <a:pt x="103" y="177"/>
                    <a:pt x="106" y="174"/>
                    <a:pt x="106" y="170"/>
                  </a:cubicBezTo>
                  <a:cubicBezTo>
                    <a:pt x="107" y="159"/>
                    <a:pt x="107" y="148"/>
                    <a:pt x="106" y="137"/>
                  </a:cubicBezTo>
                  <a:cubicBezTo>
                    <a:pt x="120" y="133"/>
                    <a:pt x="136" y="127"/>
                    <a:pt x="139" y="113"/>
                  </a:cubicBezTo>
                  <a:cubicBezTo>
                    <a:pt x="141" y="109"/>
                    <a:pt x="140" y="104"/>
                    <a:pt x="140" y="100"/>
                  </a:cubicBezTo>
                  <a:cubicBezTo>
                    <a:pt x="138" y="81"/>
                    <a:pt x="136" y="63"/>
                    <a:pt x="135" y="44"/>
                  </a:cubicBezTo>
                  <a:cubicBezTo>
                    <a:pt x="134" y="38"/>
                    <a:pt x="133" y="31"/>
                    <a:pt x="130" y="25"/>
                  </a:cubicBezTo>
                  <a:cubicBezTo>
                    <a:pt x="125" y="15"/>
                    <a:pt x="114" y="10"/>
                    <a:pt x="103" y="8"/>
                  </a:cubicBezTo>
                  <a:cubicBezTo>
                    <a:pt x="75" y="0"/>
                    <a:pt x="43" y="4"/>
                    <a:pt x="20" y="21"/>
                  </a:cubicBezTo>
                  <a:cubicBezTo>
                    <a:pt x="14" y="25"/>
                    <a:pt x="8" y="31"/>
                    <a:pt x="5" y="38"/>
                  </a:cubicBezTo>
                  <a:cubicBezTo>
                    <a:pt x="0" y="49"/>
                    <a:pt x="2" y="61"/>
                    <a:pt x="4" y="73"/>
                  </a:cubicBezTo>
                  <a:cubicBezTo>
                    <a:pt x="6" y="84"/>
                    <a:pt x="8" y="94"/>
                    <a:pt x="10" y="105"/>
                  </a:cubicBezTo>
                  <a:cubicBezTo>
                    <a:pt x="12" y="118"/>
                    <a:pt x="15" y="132"/>
                    <a:pt x="27" y="137"/>
                  </a:cubicBezTo>
                  <a:cubicBezTo>
                    <a:pt x="33" y="140"/>
                    <a:pt x="40" y="140"/>
                    <a:pt x="46" y="144"/>
                  </a:cubicBezTo>
                  <a:cubicBezTo>
                    <a:pt x="55" y="151"/>
                    <a:pt x="52" y="166"/>
                    <a:pt x="57" y="177"/>
                  </a:cubicBez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iSḷîḍé">
              <a:extLst>
                <a:ext uri="{FF2B5EF4-FFF2-40B4-BE49-F238E27FC236}">
                  <a16:creationId xmlns:a16="http://schemas.microsoft.com/office/drawing/2014/main" id="{D3824CAF-5863-4475-B9BB-CA476696E8CC}"/>
                </a:ext>
              </a:extLst>
            </p:cNvPr>
            <p:cNvSpPr/>
            <p:nvPr/>
          </p:nvSpPr>
          <p:spPr bwMode="auto">
            <a:xfrm>
              <a:off x="10556970" y="3371208"/>
              <a:ext cx="527562" cy="359832"/>
            </a:xfrm>
            <a:custGeom>
              <a:avLst/>
              <a:gdLst>
                <a:gd name="T0" fmla="*/ 34 w 340"/>
                <a:gd name="T1" fmla="*/ 89 h 232"/>
                <a:gd name="T2" fmla="*/ 26 w 340"/>
                <a:gd name="T3" fmla="*/ 75 h 232"/>
                <a:gd name="T4" fmla="*/ 6 w 340"/>
                <a:gd name="T5" fmla="*/ 47 h 232"/>
                <a:gd name="T6" fmla="*/ 8 w 340"/>
                <a:gd name="T7" fmla="*/ 14 h 232"/>
                <a:gd name="T8" fmla="*/ 28 w 340"/>
                <a:gd name="T9" fmla="*/ 5 h 232"/>
                <a:gd name="T10" fmla="*/ 101 w 340"/>
                <a:gd name="T11" fmla="*/ 9 h 232"/>
                <a:gd name="T12" fmla="*/ 166 w 340"/>
                <a:gd name="T13" fmla="*/ 21 h 232"/>
                <a:gd name="T14" fmla="*/ 225 w 340"/>
                <a:gd name="T15" fmla="*/ 29 h 232"/>
                <a:gd name="T16" fmla="*/ 302 w 340"/>
                <a:gd name="T17" fmla="*/ 58 h 232"/>
                <a:gd name="T18" fmla="*/ 323 w 340"/>
                <a:gd name="T19" fmla="*/ 82 h 232"/>
                <a:gd name="T20" fmla="*/ 315 w 340"/>
                <a:gd name="T21" fmla="*/ 185 h 232"/>
                <a:gd name="T22" fmla="*/ 298 w 340"/>
                <a:gd name="T23" fmla="*/ 203 h 232"/>
                <a:gd name="T24" fmla="*/ 255 w 340"/>
                <a:gd name="T25" fmla="*/ 232 h 232"/>
                <a:gd name="T26" fmla="*/ 262 w 340"/>
                <a:gd name="T27" fmla="*/ 162 h 232"/>
                <a:gd name="T28" fmla="*/ 185 w 340"/>
                <a:gd name="T29" fmla="*/ 149 h 232"/>
                <a:gd name="T30" fmla="*/ 116 w 340"/>
                <a:gd name="T31" fmla="*/ 168 h 232"/>
                <a:gd name="T32" fmla="*/ 65 w 340"/>
                <a:gd name="T33" fmla="*/ 150 h 232"/>
                <a:gd name="T34" fmla="*/ 34 w 340"/>
                <a:gd name="T35" fmla="*/ 8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0" h="232">
                  <a:moveTo>
                    <a:pt x="34" y="89"/>
                  </a:moveTo>
                  <a:cubicBezTo>
                    <a:pt x="32" y="84"/>
                    <a:pt x="29" y="80"/>
                    <a:pt x="26" y="75"/>
                  </a:cubicBezTo>
                  <a:cubicBezTo>
                    <a:pt x="20" y="66"/>
                    <a:pt x="11" y="57"/>
                    <a:pt x="6" y="47"/>
                  </a:cubicBezTo>
                  <a:cubicBezTo>
                    <a:pt x="1" y="36"/>
                    <a:pt x="0" y="23"/>
                    <a:pt x="8" y="14"/>
                  </a:cubicBezTo>
                  <a:cubicBezTo>
                    <a:pt x="13" y="9"/>
                    <a:pt x="21" y="6"/>
                    <a:pt x="28" y="5"/>
                  </a:cubicBezTo>
                  <a:cubicBezTo>
                    <a:pt x="52" y="0"/>
                    <a:pt x="78" y="1"/>
                    <a:pt x="101" y="9"/>
                  </a:cubicBezTo>
                  <a:cubicBezTo>
                    <a:pt x="123" y="17"/>
                    <a:pt x="143" y="28"/>
                    <a:pt x="166" y="21"/>
                  </a:cubicBezTo>
                  <a:cubicBezTo>
                    <a:pt x="188" y="15"/>
                    <a:pt x="203" y="19"/>
                    <a:pt x="225" y="29"/>
                  </a:cubicBezTo>
                  <a:cubicBezTo>
                    <a:pt x="249" y="40"/>
                    <a:pt x="281" y="44"/>
                    <a:pt x="302" y="58"/>
                  </a:cubicBezTo>
                  <a:cubicBezTo>
                    <a:pt x="311" y="64"/>
                    <a:pt x="318" y="73"/>
                    <a:pt x="323" y="82"/>
                  </a:cubicBezTo>
                  <a:cubicBezTo>
                    <a:pt x="340" y="114"/>
                    <a:pt x="337" y="156"/>
                    <a:pt x="315" y="185"/>
                  </a:cubicBezTo>
                  <a:cubicBezTo>
                    <a:pt x="310" y="192"/>
                    <a:pt x="304" y="197"/>
                    <a:pt x="298" y="203"/>
                  </a:cubicBezTo>
                  <a:cubicBezTo>
                    <a:pt x="286" y="214"/>
                    <a:pt x="271" y="229"/>
                    <a:pt x="255" y="232"/>
                  </a:cubicBezTo>
                  <a:cubicBezTo>
                    <a:pt x="255" y="218"/>
                    <a:pt x="272" y="175"/>
                    <a:pt x="262" y="162"/>
                  </a:cubicBezTo>
                  <a:cubicBezTo>
                    <a:pt x="246" y="143"/>
                    <a:pt x="207" y="146"/>
                    <a:pt x="185" y="149"/>
                  </a:cubicBezTo>
                  <a:cubicBezTo>
                    <a:pt x="161" y="152"/>
                    <a:pt x="139" y="167"/>
                    <a:pt x="116" y="168"/>
                  </a:cubicBezTo>
                  <a:cubicBezTo>
                    <a:pt x="99" y="169"/>
                    <a:pt x="79" y="160"/>
                    <a:pt x="65" y="150"/>
                  </a:cubicBezTo>
                  <a:cubicBezTo>
                    <a:pt x="49" y="138"/>
                    <a:pt x="43" y="107"/>
                    <a:pt x="34" y="89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ïṧľiďê">
              <a:extLst>
                <a:ext uri="{FF2B5EF4-FFF2-40B4-BE49-F238E27FC236}">
                  <a16:creationId xmlns:a16="http://schemas.microsoft.com/office/drawing/2014/main" id="{48E23EB1-5270-494C-8D27-6D878E5D29D9}"/>
                </a:ext>
              </a:extLst>
            </p:cNvPr>
            <p:cNvSpPr/>
            <p:nvPr/>
          </p:nvSpPr>
          <p:spPr bwMode="auto">
            <a:xfrm>
              <a:off x="11014286" y="3528904"/>
              <a:ext cx="322558" cy="579170"/>
            </a:xfrm>
            <a:custGeom>
              <a:avLst/>
              <a:gdLst>
                <a:gd name="T0" fmla="*/ 0 w 225"/>
                <a:gd name="T1" fmla="*/ 218 h 404"/>
                <a:gd name="T2" fmla="*/ 111 w 225"/>
                <a:gd name="T3" fmla="*/ 246 h 404"/>
                <a:gd name="T4" fmla="*/ 26 w 225"/>
                <a:gd name="T5" fmla="*/ 67 h 404"/>
                <a:gd name="T6" fmla="*/ 57 w 225"/>
                <a:gd name="T7" fmla="*/ 0 h 404"/>
                <a:gd name="T8" fmla="*/ 225 w 225"/>
                <a:gd name="T9" fmla="*/ 265 h 404"/>
                <a:gd name="T10" fmla="*/ 205 w 225"/>
                <a:gd name="T11" fmla="*/ 368 h 404"/>
                <a:gd name="T12" fmla="*/ 2 w 225"/>
                <a:gd name="T13" fmla="*/ 404 h 404"/>
                <a:gd name="T14" fmla="*/ 0 w 225"/>
                <a:gd name="T15" fmla="*/ 21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5" h="404">
                  <a:moveTo>
                    <a:pt x="0" y="218"/>
                  </a:moveTo>
                  <a:lnTo>
                    <a:pt x="111" y="246"/>
                  </a:lnTo>
                  <a:lnTo>
                    <a:pt x="26" y="67"/>
                  </a:lnTo>
                  <a:lnTo>
                    <a:pt x="57" y="0"/>
                  </a:lnTo>
                  <a:lnTo>
                    <a:pt x="225" y="265"/>
                  </a:lnTo>
                  <a:lnTo>
                    <a:pt x="205" y="368"/>
                  </a:lnTo>
                  <a:lnTo>
                    <a:pt x="2" y="404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íṥ1iḓê">
              <a:extLst>
                <a:ext uri="{FF2B5EF4-FFF2-40B4-BE49-F238E27FC236}">
                  <a16:creationId xmlns:a16="http://schemas.microsoft.com/office/drawing/2014/main" id="{03FFA889-3556-4290-B1DD-0A0D94F3EE6C}"/>
                </a:ext>
              </a:extLst>
            </p:cNvPr>
            <p:cNvSpPr/>
            <p:nvPr/>
          </p:nvSpPr>
          <p:spPr bwMode="auto">
            <a:xfrm>
              <a:off x="10998516" y="3448622"/>
              <a:ext cx="97485" cy="160562"/>
            </a:xfrm>
            <a:custGeom>
              <a:avLst/>
              <a:gdLst>
                <a:gd name="T0" fmla="*/ 60 w 63"/>
                <a:gd name="T1" fmla="*/ 68 h 103"/>
                <a:gd name="T2" fmla="*/ 39 w 63"/>
                <a:gd name="T3" fmla="*/ 13 h 103"/>
                <a:gd name="T4" fmla="*/ 25 w 63"/>
                <a:gd name="T5" fmla="*/ 1 h 103"/>
                <a:gd name="T6" fmla="*/ 13 w 63"/>
                <a:gd name="T7" fmla="*/ 18 h 103"/>
                <a:gd name="T8" fmla="*/ 16 w 63"/>
                <a:gd name="T9" fmla="*/ 59 h 103"/>
                <a:gd name="T10" fmla="*/ 7 w 63"/>
                <a:gd name="T11" fmla="*/ 58 h 103"/>
                <a:gd name="T12" fmla="*/ 5 w 63"/>
                <a:gd name="T13" fmla="*/ 61 h 103"/>
                <a:gd name="T14" fmla="*/ 36 w 63"/>
                <a:gd name="T15" fmla="*/ 103 h 103"/>
                <a:gd name="T16" fmla="*/ 63 w 63"/>
                <a:gd name="T17" fmla="*/ 67 h 103"/>
                <a:gd name="T18" fmla="*/ 60 w 63"/>
                <a:gd name="T19" fmla="*/ 6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103">
                  <a:moveTo>
                    <a:pt x="60" y="68"/>
                  </a:moveTo>
                  <a:cubicBezTo>
                    <a:pt x="55" y="49"/>
                    <a:pt x="48" y="30"/>
                    <a:pt x="39" y="13"/>
                  </a:cubicBezTo>
                  <a:cubicBezTo>
                    <a:pt x="36" y="7"/>
                    <a:pt x="31" y="0"/>
                    <a:pt x="25" y="1"/>
                  </a:cubicBezTo>
                  <a:cubicBezTo>
                    <a:pt x="17" y="1"/>
                    <a:pt x="14" y="10"/>
                    <a:pt x="13" y="18"/>
                  </a:cubicBezTo>
                  <a:cubicBezTo>
                    <a:pt x="11" y="31"/>
                    <a:pt x="12" y="46"/>
                    <a:pt x="16" y="59"/>
                  </a:cubicBezTo>
                  <a:cubicBezTo>
                    <a:pt x="15" y="62"/>
                    <a:pt x="11" y="57"/>
                    <a:pt x="7" y="58"/>
                  </a:cubicBezTo>
                  <a:cubicBezTo>
                    <a:pt x="6" y="58"/>
                    <a:pt x="5" y="60"/>
                    <a:pt x="5" y="61"/>
                  </a:cubicBezTo>
                  <a:cubicBezTo>
                    <a:pt x="0" y="80"/>
                    <a:pt x="24" y="94"/>
                    <a:pt x="36" y="103"/>
                  </a:cubicBezTo>
                  <a:cubicBezTo>
                    <a:pt x="46" y="91"/>
                    <a:pt x="49" y="77"/>
                    <a:pt x="63" y="67"/>
                  </a:cubicBezTo>
                  <a:lnTo>
                    <a:pt x="60" y="68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îślíḑe">
              <a:extLst>
                <a:ext uri="{FF2B5EF4-FFF2-40B4-BE49-F238E27FC236}">
                  <a16:creationId xmlns:a16="http://schemas.microsoft.com/office/drawing/2014/main" id="{7868B6CD-E39A-4BB1-BE82-9EDA5357A608}"/>
                </a:ext>
              </a:extLst>
            </p:cNvPr>
            <p:cNvSpPr/>
            <p:nvPr/>
          </p:nvSpPr>
          <p:spPr bwMode="auto">
            <a:xfrm>
              <a:off x="9291110" y="4371855"/>
              <a:ext cx="490288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iṩļîḑé">
              <a:extLst>
                <a:ext uri="{FF2B5EF4-FFF2-40B4-BE49-F238E27FC236}">
                  <a16:creationId xmlns:a16="http://schemas.microsoft.com/office/drawing/2014/main" id="{650F2038-909F-451B-9BB8-523E6DE87521}"/>
                </a:ext>
              </a:extLst>
            </p:cNvPr>
            <p:cNvSpPr/>
            <p:nvPr/>
          </p:nvSpPr>
          <p:spPr bwMode="auto">
            <a:xfrm>
              <a:off x="9283942" y="4361819"/>
              <a:ext cx="506058" cy="506058"/>
            </a:xfrm>
            <a:custGeom>
              <a:avLst/>
              <a:gdLst>
                <a:gd name="T0" fmla="*/ 353 w 353"/>
                <a:gd name="T1" fmla="*/ 353 h 353"/>
                <a:gd name="T2" fmla="*/ 0 w 353"/>
                <a:gd name="T3" fmla="*/ 353 h 353"/>
                <a:gd name="T4" fmla="*/ 0 w 353"/>
                <a:gd name="T5" fmla="*/ 0 h 353"/>
                <a:gd name="T6" fmla="*/ 353 w 353"/>
                <a:gd name="T7" fmla="*/ 0 h 353"/>
                <a:gd name="T8" fmla="*/ 353 w 353"/>
                <a:gd name="T9" fmla="*/ 353 h 353"/>
                <a:gd name="T10" fmla="*/ 12 w 353"/>
                <a:gd name="T11" fmla="*/ 341 h 353"/>
                <a:gd name="T12" fmla="*/ 341 w 353"/>
                <a:gd name="T13" fmla="*/ 341 h 353"/>
                <a:gd name="T14" fmla="*/ 341 w 353"/>
                <a:gd name="T15" fmla="*/ 12 h 353"/>
                <a:gd name="T16" fmla="*/ 12 w 353"/>
                <a:gd name="T17" fmla="*/ 12 h 353"/>
                <a:gd name="T18" fmla="*/ 12 w 353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3" h="353">
                  <a:moveTo>
                    <a:pt x="353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3" y="0"/>
                  </a:lnTo>
                  <a:lnTo>
                    <a:pt x="353" y="353"/>
                  </a:lnTo>
                  <a:close/>
                  <a:moveTo>
                    <a:pt x="12" y="341"/>
                  </a:moveTo>
                  <a:lnTo>
                    <a:pt x="341" y="341"/>
                  </a:lnTo>
                  <a:lnTo>
                    <a:pt x="341" y="12"/>
                  </a:lnTo>
                  <a:lnTo>
                    <a:pt x="12" y="12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íšľíde">
              <a:extLst>
                <a:ext uri="{FF2B5EF4-FFF2-40B4-BE49-F238E27FC236}">
                  <a16:creationId xmlns:a16="http://schemas.microsoft.com/office/drawing/2014/main" id="{F254920D-EA9D-4A40-A16F-6475BD774EC5}"/>
                </a:ext>
              </a:extLst>
            </p:cNvPr>
            <p:cNvSpPr/>
            <p:nvPr/>
          </p:nvSpPr>
          <p:spPr bwMode="auto">
            <a:xfrm>
              <a:off x="9781398" y="4371855"/>
              <a:ext cx="488855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ŝḻiďê">
              <a:extLst>
                <a:ext uri="{FF2B5EF4-FFF2-40B4-BE49-F238E27FC236}">
                  <a16:creationId xmlns:a16="http://schemas.microsoft.com/office/drawing/2014/main" id="{3813F3DC-FBF0-421E-A9E1-B4704D58E9CA}"/>
                </a:ext>
              </a:extLst>
            </p:cNvPr>
            <p:cNvSpPr/>
            <p:nvPr/>
          </p:nvSpPr>
          <p:spPr bwMode="auto">
            <a:xfrm>
              <a:off x="9772796" y="4361819"/>
              <a:ext cx="504624" cy="506058"/>
            </a:xfrm>
            <a:custGeom>
              <a:avLst/>
              <a:gdLst>
                <a:gd name="T0" fmla="*/ 352 w 352"/>
                <a:gd name="T1" fmla="*/ 353 h 353"/>
                <a:gd name="T2" fmla="*/ 0 w 352"/>
                <a:gd name="T3" fmla="*/ 353 h 353"/>
                <a:gd name="T4" fmla="*/ 0 w 352"/>
                <a:gd name="T5" fmla="*/ 0 h 353"/>
                <a:gd name="T6" fmla="*/ 352 w 352"/>
                <a:gd name="T7" fmla="*/ 0 h 353"/>
                <a:gd name="T8" fmla="*/ 352 w 352"/>
                <a:gd name="T9" fmla="*/ 353 h 353"/>
                <a:gd name="T10" fmla="*/ 12 w 352"/>
                <a:gd name="T11" fmla="*/ 341 h 353"/>
                <a:gd name="T12" fmla="*/ 340 w 352"/>
                <a:gd name="T13" fmla="*/ 341 h 353"/>
                <a:gd name="T14" fmla="*/ 340 w 352"/>
                <a:gd name="T15" fmla="*/ 12 h 353"/>
                <a:gd name="T16" fmla="*/ 12 w 352"/>
                <a:gd name="T17" fmla="*/ 12 h 353"/>
                <a:gd name="T18" fmla="*/ 12 w 352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2" h="353">
                  <a:moveTo>
                    <a:pt x="352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2" y="0"/>
                  </a:lnTo>
                  <a:lnTo>
                    <a:pt x="352" y="353"/>
                  </a:lnTo>
                  <a:close/>
                  <a:moveTo>
                    <a:pt x="12" y="341"/>
                  </a:moveTo>
                  <a:lnTo>
                    <a:pt x="340" y="341"/>
                  </a:lnTo>
                  <a:lnTo>
                    <a:pt x="340" y="12"/>
                  </a:lnTo>
                  <a:lnTo>
                    <a:pt x="12" y="12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iṩḻîḋè">
              <a:extLst>
                <a:ext uri="{FF2B5EF4-FFF2-40B4-BE49-F238E27FC236}">
                  <a16:creationId xmlns:a16="http://schemas.microsoft.com/office/drawing/2014/main" id="{D5C49997-B7B4-4818-9EEE-F148F303F1F7}"/>
                </a:ext>
              </a:extLst>
            </p:cNvPr>
            <p:cNvSpPr/>
            <p:nvPr/>
          </p:nvSpPr>
          <p:spPr bwMode="auto">
            <a:xfrm>
              <a:off x="10270252" y="4371855"/>
              <a:ext cx="488855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ïśľíḋé">
              <a:extLst>
                <a:ext uri="{FF2B5EF4-FFF2-40B4-BE49-F238E27FC236}">
                  <a16:creationId xmlns:a16="http://schemas.microsoft.com/office/drawing/2014/main" id="{68D57D91-097E-4F2D-A9A9-BC0EFEAAA7F3}"/>
                </a:ext>
              </a:extLst>
            </p:cNvPr>
            <p:cNvSpPr/>
            <p:nvPr/>
          </p:nvSpPr>
          <p:spPr bwMode="auto">
            <a:xfrm>
              <a:off x="10260217" y="4361819"/>
              <a:ext cx="507491" cy="506058"/>
            </a:xfrm>
            <a:custGeom>
              <a:avLst/>
              <a:gdLst>
                <a:gd name="T0" fmla="*/ 354 w 354"/>
                <a:gd name="T1" fmla="*/ 353 h 353"/>
                <a:gd name="T2" fmla="*/ 0 w 354"/>
                <a:gd name="T3" fmla="*/ 353 h 353"/>
                <a:gd name="T4" fmla="*/ 0 w 354"/>
                <a:gd name="T5" fmla="*/ 0 h 353"/>
                <a:gd name="T6" fmla="*/ 354 w 354"/>
                <a:gd name="T7" fmla="*/ 0 h 353"/>
                <a:gd name="T8" fmla="*/ 354 w 354"/>
                <a:gd name="T9" fmla="*/ 353 h 353"/>
                <a:gd name="T10" fmla="*/ 12 w 354"/>
                <a:gd name="T11" fmla="*/ 341 h 353"/>
                <a:gd name="T12" fmla="*/ 342 w 354"/>
                <a:gd name="T13" fmla="*/ 341 h 353"/>
                <a:gd name="T14" fmla="*/ 342 w 354"/>
                <a:gd name="T15" fmla="*/ 12 h 353"/>
                <a:gd name="T16" fmla="*/ 12 w 354"/>
                <a:gd name="T17" fmla="*/ 12 h 353"/>
                <a:gd name="T18" fmla="*/ 12 w 354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" h="353">
                  <a:moveTo>
                    <a:pt x="354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4" y="0"/>
                  </a:lnTo>
                  <a:lnTo>
                    <a:pt x="354" y="353"/>
                  </a:lnTo>
                  <a:close/>
                  <a:moveTo>
                    <a:pt x="12" y="341"/>
                  </a:moveTo>
                  <a:lnTo>
                    <a:pt x="342" y="341"/>
                  </a:lnTo>
                  <a:lnTo>
                    <a:pt x="342" y="12"/>
                  </a:lnTo>
                  <a:lnTo>
                    <a:pt x="12" y="12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ŝľîḍê">
              <a:extLst>
                <a:ext uri="{FF2B5EF4-FFF2-40B4-BE49-F238E27FC236}">
                  <a16:creationId xmlns:a16="http://schemas.microsoft.com/office/drawing/2014/main" id="{A315EDE6-55E1-4F07-B311-C507E6ABDCF0}"/>
                </a:ext>
              </a:extLst>
            </p:cNvPr>
            <p:cNvSpPr/>
            <p:nvPr/>
          </p:nvSpPr>
          <p:spPr bwMode="auto">
            <a:xfrm>
              <a:off x="9291110" y="4859276"/>
              <a:ext cx="490288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iṡlïḑe">
              <a:extLst>
                <a:ext uri="{FF2B5EF4-FFF2-40B4-BE49-F238E27FC236}">
                  <a16:creationId xmlns:a16="http://schemas.microsoft.com/office/drawing/2014/main" id="{AF903B90-22A0-4C29-9176-2981143F56D8}"/>
                </a:ext>
              </a:extLst>
            </p:cNvPr>
            <p:cNvSpPr/>
            <p:nvPr/>
          </p:nvSpPr>
          <p:spPr bwMode="auto">
            <a:xfrm>
              <a:off x="9283942" y="4850674"/>
              <a:ext cx="506058" cy="506058"/>
            </a:xfrm>
            <a:custGeom>
              <a:avLst/>
              <a:gdLst>
                <a:gd name="T0" fmla="*/ 353 w 353"/>
                <a:gd name="T1" fmla="*/ 353 h 353"/>
                <a:gd name="T2" fmla="*/ 0 w 353"/>
                <a:gd name="T3" fmla="*/ 353 h 353"/>
                <a:gd name="T4" fmla="*/ 0 w 353"/>
                <a:gd name="T5" fmla="*/ 0 h 353"/>
                <a:gd name="T6" fmla="*/ 353 w 353"/>
                <a:gd name="T7" fmla="*/ 0 h 353"/>
                <a:gd name="T8" fmla="*/ 353 w 353"/>
                <a:gd name="T9" fmla="*/ 353 h 353"/>
                <a:gd name="T10" fmla="*/ 12 w 353"/>
                <a:gd name="T11" fmla="*/ 340 h 353"/>
                <a:gd name="T12" fmla="*/ 341 w 353"/>
                <a:gd name="T13" fmla="*/ 340 h 353"/>
                <a:gd name="T14" fmla="*/ 341 w 353"/>
                <a:gd name="T15" fmla="*/ 12 h 353"/>
                <a:gd name="T16" fmla="*/ 12 w 353"/>
                <a:gd name="T17" fmla="*/ 12 h 353"/>
                <a:gd name="T18" fmla="*/ 12 w 353"/>
                <a:gd name="T19" fmla="*/ 34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3" h="353">
                  <a:moveTo>
                    <a:pt x="353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3" y="0"/>
                  </a:lnTo>
                  <a:lnTo>
                    <a:pt x="353" y="353"/>
                  </a:lnTo>
                  <a:close/>
                  <a:moveTo>
                    <a:pt x="12" y="340"/>
                  </a:moveTo>
                  <a:lnTo>
                    <a:pt x="341" y="340"/>
                  </a:lnTo>
                  <a:lnTo>
                    <a:pt x="341" y="12"/>
                  </a:lnTo>
                  <a:lnTo>
                    <a:pt x="12" y="12"/>
                  </a:lnTo>
                  <a:lnTo>
                    <a:pt x="12" y="34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íšľïďe">
              <a:extLst>
                <a:ext uri="{FF2B5EF4-FFF2-40B4-BE49-F238E27FC236}">
                  <a16:creationId xmlns:a16="http://schemas.microsoft.com/office/drawing/2014/main" id="{4D88A172-EB0B-4BE7-B38D-CE587A17B532}"/>
                </a:ext>
              </a:extLst>
            </p:cNvPr>
            <p:cNvSpPr/>
            <p:nvPr/>
          </p:nvSpPr>
          <p:spPr bwMode="auto">
            <a:xfrm>
              <a:off x="9781398" y="4859276"/>
              <a:ext cx="488855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iṥľíde">
              <a:extLst>
                <a:ext uri="{FF2B5EF4-FFF2-40B4-BE49-F238E27FC236}">
                  <a16:creationId xmlns:a16="http://schemas.microsoft.com/office/drawing/2014/main" id="{5A327EBC-D08B-4FB5-A34E-3D00282D454A}"/>
                </a:ext>
              </a:extLst>
            </p:cNvPr>
            <p:cNvSpPr/>
            <p:nvPr/>
          </p:nvSpPr>
          <p:spPr bwMode="auto">
            <a:xfrm>
              <a:off x="9772796" y="4850674"/>
              <a:ext cx="504624" cy="506058"/>
            </a:xfrm>
            <a:custGeom>
              <a:avLst/>
              <a:gdLst>
                <a:gd name="T0" fmla="*/ 352 w 352"/>
                <a:gd name="T1" fmla="*/ 353 h 353"/>
                <a:gd name="T2" fmla="*/ 0 w 352"/>
                <a:gd name="T3" fmla="*/ 353 h 353"/>
                <a:gd name="T4" fmla="*/ 0 w 352"/>
                <a:gd name="T5" fmla="*/ 0 h 353"/>
                <a:gd name="T6" fmla="*/ 352 w 352"/>
                <a:gd name="T7" fmla="*/ 0 h 353"/>
                <a:gd name="T8" fmla="*/ 352 w 352"/>
                <a:gd name="T9" fmla="*/ 353 h 353"/>
                <a:gd name="T10" fmla="*/ 12 w 352"/>
                <a:gd name="T11" fmla="*/ 340 h 353"/>
                <a:gd name="T12" fmla="*/ 340 w 352"/>
                <a:gd name="T13" fmla="*/ 340 h 353"/>
                <a:gd name="T14" fmla="*/ 340 w 352"/>
                <a:gd name="T15" fmla="*/ 12 h 353"/>
                <a:gd name="T16" fmla="*/ 12 w 352"/>
                <a:gd name="T17" fmla="*/ 12 h 353"/>
                <a:gd name="T18" fmla="*/ 12 w 352"/>
                <a:gd name="T19" fmla="*/ 34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2" h="353">
                  <a:moveTo>
                    <a:pt x="352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2" y="0"/>
                  </a:lnTo>
                  <a:lnTo>
                    <a:pt x="352" y="353"/>
                  </a:lnTo>
                  <a:close/>
                  <a:moveTo>
                    <a:pt x="12" y="340"/>
                  </a:moveTo>
                  <a:lnTo>
                    <a:pt x="340" y="340"/>
                  </a:lnTo>
                  <a:lnTo>
                    <a:pt x="340" y="12"/>
                  </a:lnTo>
                  <a:lnTo>
                    <a:pt x="12" y="12"/>
                  </a:lnTo>
                  <a:lnTo>
                    <a:pt x="12" y="34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iṥliḓè">
              <a:extLst>
                <a:ext uri="{FF2B5EF4-FFF2-40B4-BE49-F238E27FC236}">
                  <a16:creationId xmlns:a16="http://schemas.microsoft.com/office/drawing/2014/main" id="{EE510E23-EFFC-433E-AAEA-0822403AAF49}"/>
                </a:ext>
              </a:extLst>
            </p:cNvPr>
            <p:cNvSpPr/>
            <p:nvPr/>
          </p:nvSpPr>
          <p:spPr bwMode="auto">
            <a:xfrm>
              <a:off x="10270252" y="4859276"/>
              <a:ext cx="488855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isļïḋè">
              <a:extLst>
                <a:ext uri="{FF2B5EF4-FFF2-40B4-BE49-F238E27FC236}">
                  <a16:creationId xmlns:a16="http://schemas.microsoft.com/office/drawing/2014/main" id="{48FF5D3D-2A3E-4956-9103-0166B80380CE}"/>
                </a:ext>
              </a:extLst>
            </p:cNvPr>
            <p:cNvSpPr/>
            <p:nvPr/>
          </p:nvSpPr>
          <p:spPr bwMode="auto">
            <a:xfrm>
              <a:off x="10260217" y="4850674"/>
              <a:ext cx="507491" cy="506058"/>
            </a:xfrm>
            <a:custGeom>
              <a:avLst/>
              <a:gdLst>
                <a:gd name="T0" fmla="*/ 354 w 354"/>
                <a:gd name="T1" fmla="*/ 353 h 353"/>
                <a:gd name="T2" fmla="*/ 0 w 354"/>
                <a:gd name="T3" fmla="*/ 353 h 353"/>
                <a:gd name="T4" fmla="*/ 0 w 354"/>
                <a:gd name="T5" fmla="*/ 0 h 353"/>
                <a:gd name="T6" fmla="*/ 354 w 354"/>
                <a:gd name="T7" fmla="*/ 0 h 353"/>
                <a:gd name="T8" fmla="*/ 354 w 354"/>
                <a:gd name="T9" fmla="*/ 353 h 353"/>
                <a:gd name="T10" fmla="*/ 12 w 354"/>
                <a:gd name="T11" fmla="*/ 340 h 353"/>
                <a:gd name="T12" fmla="*/ 342 w 354"/>
                <a:gd name="T13" fmla="*/ 340 h 353"/>
                <a:gd name="T14" fmla="*/ 342 w 354"/>
                <a:gd name="T15" fmla="*/ 12 h 353"/>
                <a:gd name="T16" fmla="*/ 12 w 354"/>
                <a:gd name="T17" fmla="*/ 12 h 353"/>
                <a:gd name="T18" fmla="*/ 12 w 354"/>
                <a:gd name="T19" fmla="*/ 34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" h="353">
                  <a:moveTo>
                    <a:pt x="354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4" y="0"/>
                  </a:lnTo>
                  <a:lnTo>
                    <a:pt x="354" y="353"/>
                  </a:lnTo>
                  <a:close/>
                  <a:moveTo>
                    <a:pt x="12" y="340"/>
                  </a:moveTo>
                  <a:lnTo>
                    <a:pt x="342" y="340"/>
                  </a:lnTo>
                  <a:lnTo>
                    <a:pt x="342" y="12"/>
                  </a:lnTo>
                  <a:lnTo>
                    <a:pt x="12" y="12"/>
                  </a:lnTo>
                  <a:lnTo>
                    <a:pt x="12" y="34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îṩlïďé">
              <a:extLst>
                <a:ext uri="{FF2B5EF4-FFF2-40B4-BE49-F238E27FC236}">
                  <a16:creationId xmlns:a16="http://schemas.microsoft.com/office/drawing/2014/main" id="{37C4E2B4-D521-4A4A-A6CB-95D06937FF78}"/>
                </a:ext>
              </a:extLst>
            </p:cNvPr>
            <p:cNvSpPr/>
            <p:nvPr/>
          </p:nvSpPr>
          <p:spPr bwMode="auto">
            <a:xfrm>
              <a:off x="9291110" y="5346697"/>
              <a:ext cx="490288" cy="4888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ïśḷïḋè">
              <a:extLst>
                <a:ext uri="{FF2B5EF4-FFF2-40B4-BE49-F238E27FC236}">
                  <a16:creationId xmlns:a16="http://schemas.microsoft.com/office/drawing/2014/main" id="{9C0CCB6C-BA29-49DF-A8D3-9EE49F0F1463}"/>
                </a:ext>
              </a:extLst>
            </p:cNvPr>
            <p:cNvSpPr/>
            <p:nvPr/>
          </p:nvSpPr>
          <p:spPr bwMode="auto">
            <a:xfrm>
              <a:off x="9283942" y="5338094"/>
              <a:ext cx="506058" cy="506058"/>
            </a:xfrm>
            <a:custGeom>
              <a:avLst/>
              <a:gdLst>
                <a:gd name="T0" fmla="*/ 353 w 353"/>
                <a:gd name="T1" fmla="*/ 353 h 353"/>
                <a:gd name="T2" fmla="*/ 0 w 353"/>
                <a:gd name="T3" fmla="*/ 353 h 353"/>
                <a:gd name="T4" fmla="*/ 0 w 353"/>
                <a:gd name="T5" fmla="*/ 0 h 353"/>
                <a:gd name="T6" fmla="*/ 353 w 353"/>
                <a:gd name="T7" fmla="*/ 0 h 353"/>
                <a:gd name="T8" fmla="*/ 353 w 353"/>
                <a:gd name="T9" fmla="*/ 353 h 353"/>
                <a:gd name="T10" fmla="*/ 12 w 353"/>
                <a:gd name="T11" fmla="*/ 341 h 353"/>
                <a:gd name="T12" fmla="*/ 341 w 353"/>
                <a:gd name="T13" fmla="*/ 341 h 353"/>
                <a:gd name="T14" fmla="*/ 341 w 353"/>
                <a:gd name="T15" fmla="*/ 13 h 353"/>
                <a:gd name="T16" fmla="*/ 12 w 353"/>
                <a:gd name="T17" fmla="*/ 13 h 353"/>
                <a:gd name="T18" fmla="*/ 12 w 353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3" h="353">
                  <a:moveTo>
                    <a:pt x="353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3" y="0"/>
                  </a:lnTo>
                  <a:lnTo>
                    <a:pt x="353" y="353"/>
                  </a:lnTo>
                  <a:close/>
                  <a:moveTo>
                    <a:pt x="12" y="341"/>
                  </a:moveTo>
                  <a:lnTo>
                    <a:pt x="341" y="341"/>
                  </a:lnTo>
                  <a:lnTo>
                    <a:pt x="341" y="13"/>
                  </a:lnTo>
                  <a:lnTo>
                    <a:pt x="12" y="13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ïṧľíḋé">
              <a:extLst>
                <a:ext uri="{FF2B5EF4-FFF2-40B4-BE49-F238E27FC236}">
                  <a16:creationId xmlns:a16="http://schemas.microsoft.com/office/drawing/2014/main" id="{B4F0C033-29E1-47B1-94B1-248BF39E224F}"/>
                </a:ext>
              </a:extLst>
            </p:cNvPr>
            <p:cNvSpPr/>
            <p:nvPr/>
          </p:nvSpPr>
          <p:spPr bwMode="auto">
            <a:xfrm>
              <a:off x="9781398" y="5346697"/>
              <a:ext cx="488855" cy="4888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işļíḓê">
              <a:extLst>
                <a:ext uri="{FF2B5EF4-FFF2-40B4-BE49-F238E27FC236}">
                  <a16:creationId xmlns:a16="http://schemas.microsoft.com/office/drawing/2014/main" id="{44149C69-F32C-4F33-A08B-9557A175D8A7}"/>
                </a:ext>
              </a:extLst>
            </p:cNvPr>
            <p:cNvSpPr/>
            <p:nvPr/>
          </p:nvSpPr>
          <p:spPr bwMode="auto">
            <a:xfrm>
              <a:off x="9772796" y="5338094"/>
              <a:ext cx="504624" cy="506058"/>
            </a:xfrm>
            <a:custGeom>
              <a:avLst/>
              <a:gdLst>
                <a:gd name="T0" fmla="*/ 352 w 352"/>
                <a:gd name="T1" fmla="*/ 353 h 353"/>
                <a:gd name="T2" fmla="*/ 0 w 352"/>
                <a:gd name="T3" fmla="*/ 353 h 353"/>
                <a:gd name="T4" fmla="*/ 0 w 352"/>
                <a:gd name="T5" fmla="*/ 0 h 353"/>
                <a:gd name="T6" fmla="*/ 352 w 352"/>
                <a:gd name="T7" fmla="*/ 0 h 353"/>
                <a:gd name="T8" fmla="*/ 352 w 352"/>
                <a:gd name="T9" fmla="*/ 353 h 353"/>
                <a:gd name="T10" fmla="*/ 12 w 352"/>
                <a:gd name="T11" fmla="*/ 341 h 353"/>
                <a:gd name="T12" fmla="*/ 340 w 352"/>
                <a:gd name="T13" fmla="*/ 341 h 353"/>
                <a:gd name="T14" fmla="*/ 340 w 352"/>
                <a:gd name="T15" fmla="*/ 13 h 353"/>
                <a:gd name="T16" fmla="*/ 12 w 352"/>
                <a:gd name="T17" fmla="*/ 13 h 353"/>
                <a:gd name="T18" fmla="*/ 12 w 352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2" h="353">
                  <a:moveTo>
                    <a:pt x="352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2" y="0"/>
                  </a:lnTo>
                  <a:lnTo>
                    <a:pt x="352" y="353"/>
                  </a:lnTo>
                  <a:close/>
                  <a:moveTo>
                    <a:pt x="12" y="341"/>
                  </a:moveTo>
                  <a:lnTo>
                    <a:pt x="340" y="341"/>
                  </a:lnTo>
                  <a:lnTo>
                    <a:pt x="340" y="13"/>
                  </a:lnTo>
                  <a:lnTo>
                    <a:pt x="12" y="13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ïSļïḓé">
              <a:extLst>
                <a:ext uri="{FF2B5EF4-FFF2-40B4-BE49-F238E27FC236}">
                  <a16:creationId xmlns:a16="http://schemas.microsoft.com/office/drawing/2014/main" id="{AB7C6242-407E-469C-AA52-A98F8AA56D40}"/>
                </a:ext>
              </a:extLst>
            </p:cNvPr>
            <p:cNvSpPr/>
            <p:nvPr/>
          </p:nvSpPr>
          <p:spPr bwMode="auto">
            <a:xfrm>
              <a:off x="10270252" y="5346697"/>
              <a:ext cx="488855" cy="4888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íṩļiḋè">
              <a:extLst>
                <a:ext uri="{FF2B5EF4-FFF2-40B4-BE49-F238E27FC236}">
                  <a16:creationId xmlns:a16="http://schemas.microsoft.com/office/drawing/2014/main" id="{D3ECA779-FB7D-4166-B193-74BD3BFF093D}"/>
                </a:ext>
              </a:extLst>
            </p:cNvPr>
            <p:cNvSpPr/>
            <p:nvPr/>
          </p:nvSpPr>
          <p:spPr bwMode="auto">
            <a:xfrm>
              <a:off x="10260217" y="5338094"/>
              <a:ext cx="507491" cy="506058"/>
            </a:xfrm>
            <a:custGeom>
              <a:avLst/>
              <a:gdLst>
                <a:gd name="T0" fmla="*/ 354 w 354"/>
                <a:gd name="T1" fmla="*/ 353 h 353"/>
                <a:gd name="T2" fmla="*/ 0 w 354"/>
                <a:gd name="T3" fmla="*/ 353 h 353"/>
                <a:gd name="T4" fmla="*/ 0 w 354"/>
                <a:gd name="T5" fmla="*/ 0 h 353"/>
                <a:gd name="T6" fmla="*/ 354 w 354"/>
                <a:gd name="T7" fmla="*/ 0 h 353"/>
                <a:gd name="T8" fmla="*/ 354 w 354"/>
                <a:gd name="T9" fmla="*/ 353 h 353"/>
                <a:gd name="T10" fmla="*/ 12 w 354"/>
                <a:gd name="T11" fmla="*/ 341 h 353"/>
                <a:gd name="T12" fmla="*/ 342 w 354"/>
                <a:gd name="T13" fmla="*/ 341 h 353"/>
                <a:gd name="T14" fmla="*/ 342 w 354"/>
                <a:gd name="T15" fmla="*/ 13 h 353"/>
                <a:gd name="T16" fmla="*/ 12 w 354"/>
                <a:gd name="T17" fmla="*/ 13 h 353"/>
                <a:gd name="T18" fmla="*/ 12 w 354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" h="353">
                  <a:moveTo>
                    <a:pt x="354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4" y="0"/>
                  </a:lnTo>
                  <a:lnTo>
                    <a:pt x="354" y="353"/>
                  </a:lnTo>
                  <a:close/>
                  <a:moveTo>
                    <a:pt x="12" y="341"/>
                  </a:moveTo>
                  <a:lnTo>
                    <a:pt x="342" y="341"/>
                  </a:lnTo>
                  <a:lnTo>
                    <a:pt x="342" y="13"/>
                  </a:lnTo>
                  <a:lnTo>
                    <a:pt x="12" y="13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ïsļïḑê">
              <a:extLst>
                <a:ext uri="{FF2B5EF4-FFF2-40B4-BE49-F238E27FC236}">
                  <a16:creationId xmlns:a16="http://schemas.microsoft.com/office/drawing/2014/main" id="{5D705A31-D1BD-4B47-A7D8-C5F82970B1D0}"/>
                </a:ext>
              </a:extLst>
            </p:cNvPr>
            <p:cNvSpPr/>
            <p:nvPr/>
          </p:nvSpPr>
          <p:spPr bwMode="auto">
            <a:xfrm>
              <a:off x="10423646" y="4498011"/>
              <a:ext cx="180633" cy="253746"/>
            </a:xfrm>
            <a:custGeom>
              <a:avLst/>
              <a:gdLst>
                <a:gd name="T0" fmla="*/ 116 w 116"/>
                <a:gd name="T1" fmla="*/ 136 h 164"/>
                <a:gd name="T2" fmla="*/ 116 w 116"/>
                <a:gd name="T3" fmla="*/ 164 h 164"/>
                <a:gd name="T4" fmla="*/ 5 w 116"/>
                <a:gd name="T5" fmla="*/ 164 h 164"/>
                <a:gd name="T6" fmla="*/ 5 w 116"/>
                <a:gd name="T7" fmla="*/ 138 h 164"/>
                <a:gd name="T8" fmla="*/ 59 w 116"/>
                <a:gd name="T9" fmla="*/ 81 h 164"/>
                <a:gd name="T10" fmla="*/ 76 w 116"/>
                <a:gd name="T11" fmla="*/ 48 h 164"/>
                <a:gd name="T12" fmla="*/ 70 w 116"/>
                <a:gd name="T13" fmla="*/ 33 h 164"/>
                <a:gd name="T14" fmla="*/ 54 w 116"/>
                <a:gd name="T15" fmla="*/ 28 h 164"/>
                <a:gd name="T16" fmla="*/ 11 w 116"/>
                <a:gd name="T17" fmla="*/ 44 h 164"/>
                <a:gd name="T18" fmla="*/ 0 w 116"/>
                <a:gd name="T19" fmla="*/ 19 h 164"/>
                <a:gd name="T20" fmla="*/ 25 w 116"/>
                <a:gd name="T21" fmla="*/ 5 h 164"/>
                <a:gd name="T22" fmla="*/ 56 w 116"/>
                <a:gd name="T23" fmla="*/ 0 h 164"/>
                <a:gd name="T24" fmla="*/ 96 w 116"/>
                <a:gd name="T25" fmla="*/ 13 h 164"/>
                <a:gd name="T26" fmla="*/ 110 w 116"/>
                <a:gd name="T27" fmla="*/ 45 h 164"/>
                <a:gd name="T28" fmla="*/ 105 w 116"/>
                <a:gd name="T29" fmla="*/ 71 h 164"/>
                <a:gd name="T30" fmla="*/ 85 w 116"/>
                <a:gd name="T31" fmla="*/ 97 h 164"/>
                <a:gd name="T32" fmla="*/ 49 w 116"/>
                <a:gd name="T33" fmla="*/ 136 h 164"/>
                <a:gd name="T34" fmla="*/ 116 w 116"/>
                <a:gd name="T35" fmla="*/ 13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6" h="164">
                  <a:moveTo>
                    <a:pt x="116" y="136"/>
                  </a:moveTo>
                  <a:cubicBezTo>
                    <a:pt x="116" y="164"/>
                    <a:pt x="116" y="164"/>
                    <a:pt x="116" y="164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70" y="69"/>
                    <a:pt x="76" y="58"/>
                    <a:pt x="76" y="48"/>
                  </a:cubicBezTo>
                  <a:cubicBezTo>
                    <a:pt x="76" y="41"/>
                    <a:pt x="74" y="36"/>
                    <a:pt x="70" y="33"/>
                  </a:cubicBezTo>
                  <a:cubicBezTo>
                    <a:pt x="67" y="30"/>
                    <a:pt x="61" y="28"/>
                    <a:pt x="54" y="28"/>
                  </a:cubicBezTo>
                  <a:cubicBezTo>
                    <a:pt x="40" y="28"/>
                    <a:pt x="26" y="34"/>
                    <a:pt x="11" y="4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6" y="13"/>
                    <a:pt x="15" y="9"/>
                    <a:pt x="25" y="5"/>
                  </a:cubicBezTo>
                  <a:cubicBezTo>
                    <a:pt x="35" y="2"/>
                    <a:pt x="45" y="0"/>
                    <a:pt x="56" y="0"/>
                  </a:cubicBezTo>
                  <a:cubicBezTo>
                    <a:pt x="72" y="0"/>
                    <a:pt x="86" y="4"/>
                    <a:pt x="96" y="13"/>
                  </a:cubicBezTo>
                  <a:cubicBezTo>
                    <a:pt x="106" y="21"/>
                    <a:pt x="110" y="31"/>
                    <a:pt x="110" y="45"/>
                  </a:cubicBezTo>
                  <a:cubicBezTo>
                    <a:pt x="110" y="54"/>
                    <a:pt x="109" y="63"/>
                    <a:pt x="105" y="71"/>
                  </a:cubicBezTo>
                  <a:cubicBezTo>
                    <a:pt x="101" y="79"/>
                    <a:pt x="94" y="88"/>
                    <a:pt x="85" y="97"/>
                  </a:cubicBezTo>
                  <a:cubicBezTo>
                    <a:pt x="49" y="136"/>
                    <a:pt x="49" y="136"/>
                    <a:pt x="49" y="136"/>
                  </a:cubicBezTo>
                  <a:lnTo>
                    <a:pt x="116" y="136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í$lïdê">
              <a:extLst>
                <a:ext uri="{FF2B5EF4-FFF2-40B4-BE49-F238E27FC236}">
                  <a16:creationId xmlns:a16="http://schemas.microsoft.com/office/drawing/2014/main" id="{183903ED-2CD0-4D1B-BAD0-ABCC281AC49F}"/>
                </a:ext>
              </a:extLst>
            </p:cNvPr>
            <p:cNvSpPr/>
            <p:nvPr/>
          </p:nvSpPr>
          <p:spPr bwMode="auto">
            <a:xfrm>
              <a:off x="10446584" y="5481454"/>
              <a:ext cx="180633" cy="255179"/>
            </a:xfrm>
            <a:custGeom>
              <a:avLst/>
              <a:gdLst>
                <a:gd name="T0" fmla="*/ 109 w 117"/>
                <a:gd name="T1" fmla="*/ 94 h 165"/>
                <a:gd name="T2" fmla="*/ 117 w 117"/>
                <a:gd name="T3" fmla="*/ 119 h 165"/>
                <a:gd name="T4" fmla="*/ 101 w 117"/>
                <a:gd name="T5" fmla="*/ 153 h 165"/>
                <a:gd name="T6" fmla="*/ 57 w 117"/>
                <a:gd name="T7" fmla="*/ 165 h 165"/>
                <a:gd name="T8" fmla="*/ 25 w 117"/>
                <a:gd name="T9" fmla="*/ 160 h 165"/>
                <a:gd name="T10" fmla="*/ 0 w 117"/>
                <a:gd name="T11" fmla="*/ 147 h 165"/>
                <a:gd name="T12" fmla="*/ 11 w 117"/>
                <a:gd name="T13" fmla="*/ 122 h 165"/>
                <a:gd name="T14" fmla="*/ 55 w 117"/>
                <a:gd name="T15" fmla="*/ 137 h 165"/>
                <a:gd name="T16" fmla="*/ 77 w 117"/>
                <a:gd name="T17" fmla="*/ 132 h 165"/>
                <a:gd name="T18" fmla="*/ 83 w 117"/>
                <a:gd name="T19" fmla="*/ 116 h 165"/>
                <a:gd name="T20" fmla="*/ 77 w 117"/>
                <a:gd name="T21" fmla="*/ 100 h 165"/>
                <a:gd name="T22" fmla="*/ 55 w 117"/>
                <a:gd name="T23" fmla="*/ 95 h 165"/>
                <a:gd name="T24" fmla="*/ 32 w 117"/>
                <a:gd name="T25" fmla="*/ 95 h 165"/>
                <a:gd name="T26" fmla="*/ 32 w 117"/>
                <a:gd name="T27" fmla="*/ 68 h 165"/>
                <a:gd name="T28" fmla="*/ 52 w 117"/>
                <a:gd name="T29" fmla="*/ 68 h 165"/>
                <a:gd name="T30" fmla="*/ 72 w 117"/>
                <a:gd name="T31" fmla="*/ 63 h 165"/>
                <a:gd name="T32" fmla="*/ 79 w 117"/>
                <a:gd name="T33" fmla="*/ 48 h 165"/>
                <a:gd name="T34" fmla="*/ 73 w 117"/>
                <a:gd name="T35" fmla="*/ 33 h 165"/>
                <a:gd name="T36" fmla="*/ 56 w 117"/>
                <a:gd name="T37" fmla="*/ 28 h 165"/>
                <a:gd name="T38" fmla="*/ 35 w 117"/>
                <a:gd name="T39" fmla="*/ 32 h 165"/>
                <a:gd name="T40" fmla="*/ 13 w 117"/>
                <a:gd name="T41" fmla="*/ 43 h 165"/>
                <a:gd name="T42" fmla="*/ 2 w 117"/>
                <a:gd name="T43" fmla="*/ 18 h 165"/>
                <a:gd name="T44" fmla="*/ 27 w 117"/>
                <a:gd name="T45" fmla="*/ 5 h 165"/>
                <a:gd name="T46" fmla="*/ 58 w 117"/>
                <a:gd name="T47" fmla="*/ 0 h 165"/>
                <a:gd name="T48" fmla="*/ 87 w 117"/>
                <a:gd name="T49" fmla="*/ 5 h 165"/>
                <a:gd name="T50" fmla="*/ 106 w 117"/>
                <a:gd name="T51" fmla="*/ 20 h 165"/>
                <a:gd name="T52" fmla="*/ 113 w 117"/>
                <a:gd name="T53" fmla="*/ 43 h 165"/>
                <a:gd name="T54" fmla="*/ 106 w 117"/>
                <a:gd name="T55" fmla="*/ 66 h 165"/>
                <a:gd name="T56" fmla="*/ 88 w 117"/>
                <a:gd name="T57" fmla="*/ 80 h 165"/>
                <a:gd name="T58" fmla="*/ 109 w 117"/>
                <a:gd name="T59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7" h="165">
                  <a:moveTo>
                    <a:pt x="109" y="94"/>
                  </a:moveTo>
                  <a:cubicBezTo>
                    <a:pt x="114" y="101"/>
                    <a:pt x="117" y="109"/>
                    <a:pt x="117" y="119"/>
                  </a:cubicBezTo>
                  <a:cubicBezTo>
                    <a:pt x="117" y="133"/>
                    <a:pt x="111" y="145"/>
                    <a:pt x="101" y="153"/>
                  </a:cubicBezTo>
                  <a:cubicBezTo>
                    <a:pt x="90" y="161"/>
                    <a:pt x="75" y="165"/>
                    <a:pt x="57" y="165"/>
                  </a:cubicBezTo>
                  <a:cubicBezTo>
                    <a:pt x="46" y="165"/>
                    <a:pt x="35" y="163"/>
                    <a:pt x="25" y="160"/>
                  </a:cubicBezTo>
                  <a:cubicBezTo>
                    <a:pt x="15" y="157"/>
                    <a:pt x="6" y="152"/>
                    <a:pt x="0" y="147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26" y="132"/>
                    <a:pt x="40" y="137"/>
                    <a:pt x="55" y="137"/>
                  </a:cubicBezTo>
                  <a:cubicBezTo>
                    <a:pt x="65" y="137"/>
                    <a:pt x="72" y="135"/>
                    <a:pt x="77" y="132"/>
                  </a:cubicBezTo>
                  <a:cubicBezTo>
                    <a:pt x="81" y="129"/>
                    <a:pt x="83" y="123"/>
                    <a:pt x="83" y="116"/>
                  </a:cubicBezTo>
                  <a:cubicBezTo>
                    <a:pt x="83" y="109"/>
                    <a:pt x="81" y="104"/>
                    <a:pt x="77" y="100"/>
                  </a:cubicBezTo>
                  <a:cubicBezTo>
                    <a:pt x="72" y="97"/>
                    <a:pt x="65" y="95"/>
                    <a:pt x="55" y="95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61" y="68"/>
                    <a:pt x="68" y="66"/>
                    <a:pt x="72" y="63"/>
                  </a:cubicBezTo>
                  <a:cubicBezTo>
                    <a:pt x="77" y="60"/>
                    <a:pt x="79" y="55"/>
                    <a:pt x="79" y="48"/>
                  </a:cubicBezTo>
                  <a:cubicBezTo>
                    <a:pt x="79" y="41"/>
                    <a:pt x="77" y="36"/>
                    <a:pt x="73" y="33"/>
                  </a:cubicBezTo>
                  <a:cubicBezTo>
                    <a:pt x="69" y="29"/>
                    <a:pt x="63" y="28"/>
                    <a:pt x="56" y="28"/>
                  </a:cubicBezTo>
                  <a:cubicBezTo>
                    <a:pt x="49" y="28"/>
                    <a:pt x="42" y="29"/>
                    <a:pt x="35" y="32"/>
                  </a:cubicBezTo>
                  <a:cubicBezTo>
                    <a:pt x="27" y="34"/>
                    <a:pt x="20" y="38"/>
                    <a:pt x="13" y="43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9" y="12"/>
                    <a:pt x="17" y="8"/>
                    <a:pt x="27" y="5"/>
                  </a:cubicBezTo>
                  <a:cubicBezTo>
                    <a:pt x="37" y="1"/>
                    <a:pt x="48" y="0"/>
                    <a:pt x="58" y="0"/>
                  </a:cubicBezTo>
                  <a:cubicBezTo>
                    <a:pt x="69" y="0"/>
                    <a:pt x="79" y="2"/>
                    <a:pt x="87" y="5"/>
                  </a:cubicBezTo>
                  <a:cubicBezTo>
                    <a:pt x="95" y="9"/>
                    <a:pt x="102" y="14"/>
                    <a:pt x="106" y="20"/>
                  </a:cubicBezTo>
                  <a:cubicBezTo>
                    <a:pt x="111" y="27"/>
                    <a:pt x="113" y="35"/>
                    <a:pt x="113" y="43"/>
                  </a:cubicBezTo>
                  <a:cubicBezTo>
                    <a:pt x="113" y="52"/>
                    <a:pt x="111" y="60"/>
                    <a:pt x="106" y="66"/>
                  </a:cubicBezTo>
                  <a:cubicBezTo>
                    <a:pt x="102" y="73"/>
                    <a:pt x="96" y="77"/>
                    <a:pt x="88" y="80"/>
                  </a:cubicBezTo>
                  <a:cubicBezTo>
                    <a:pt x="97" y="83"/>
                    <a:pt x="104" y="88"/>
                    <a:pt x="109" y="94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ïṧḷïḓè">
              <a:extLst>
                <a:ext uri="{FF2B5EF4-FFF2-40B4-BE49-F238E27FC236}">
                  <a16:creationId xmlns:a16="http://schemas.microsoft.com/office/drawing/2014/main" id="{929E8B04-69F1-4E03-99B0-6556DDB1769A}"/>
                </a:ext>
              </a:extLst>
            </p:cNvPr>
            <p:cNvSpPr/>
            <p:nvPr/>
          </p:nvSpPr>
          <p:spPr bwMode="auto">
            <a:xfrm>
              <a:off x="9941960" y="4487975"/>
              <a:ext cx="182066" cy="255179"/>
            </a:xfrm>
            <a:custGeom>
              <a:avLst/>
              <a:gdLst>
                <a:gd name="T0" fmla="*/ 93 w 117"/>
                <a:gd name="T1" fmla="*/ 64 h 164"/>
                <a:gd name="T2" fmla="*/ 111 w 117"/>
                <a:gd name="T3" fmla="*/ 82 h 164"/>
                <a:gd name="T4" fmla="*/ 117 w 117"/>
                <a:gd name="T5" fmla="*/ 109 h 164"/>
                <a:gd name="T6" fmla="*/ 110 w 117"/>
                <a:gd name="T7" fmla="*/ 138 h 164"/>
                <a:gd name="T8" fmla="*/ 88 w 117"/>
                <a:gd name="T9" fmla="*/ 157 h 164"/>
                <a:gd name="T10" fmla="*/ 55 w 117"/>
                <a:gd name="T11" fmla="*/ 164 h 164"/>
                <a:gd name="T12" fmla="*/ 24 w 117"/>
                <a:gd name="T13" fmla="*/ 159 h 164"/>
                <a:gd name="T14" fmla="*/ 0 w 117"/>
                <a:gd name="T15" fmla="*/ 145 h 164"/>
                <a:gd name="T16" fmla="*/ 11 w 117"/>
                <a:gd name="T17" fmla="*/ 120 h 164"/>
                <a:gd name="T18" fmla="*/ 55 w 117"/>
                <a:gd name="T19" fmla="*/ 136 h 164"/>
                <a:gd name="T20" fmla="*/ 84 w 117"/>
                <a:gd name="T21" fmla="*/ 110 h 164"/>
                <a:gd name="T22" fmla="*/ 76 w 117"/>
                <a:gd name="T23" fmla="*/ 92 h 164"/>
                <a:gd name="T24" fmla="*/ 56 w 117"/>
                <a:gd name="T25" fmla="*/ 85 h 164"/>
                <a:gd name="T26" fmla="*/ 40 w 117"/>
                <a:gd name="T27" fmla="*/ 88 h 164"/>
                <a:gd name="T28" fmla="*/ 26 w 117"/>
                <a:gd name="T29" fmla="*/ 96 h 164"/>
                <a:gd name="T30" fmla="*/ 6 w 117"/>
                <a:gd name="T31" fmla="*/ 96 h 164"/>
                <a:gd name="T32" fmla="*/ 6 w 117"/>
                <a:gd name="T33" fmla="*/ 0 h 164"/>
                <a:gd name="T34" fmla="*/ 109 w 117"/>
                <a:gd name="T35" fmla="*/ 0 h 164"/>
                <a:gd name="T36" fmla="*/ 109 w 117"/>
                <a:gd name="T37" fmla="*/ 28 h 164"/>
                <a:gd name="T38" fmla="*/ 40 w 117"/>
                <a:gd name="T39" fmla="*/ 28 h 164"/>
                <a:gd name="T40" fmla="*/ 40 w 117"/>
                <a:gd name="T41" fmla="*/ 64 h 164"/>
                <a:gd name="T42" fmla="*/ 66 w 117"/>
                <a:gd name="T43" fmla="*/ 57 h 164"/>
                <a:gd name="T44" fmla="*/ 93 w 117"/>
                <a:gd name="T45" fmla="*/ 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164">
                  <a:moveTo>
                    <a:pt x="93" y="64"/>
                  </a:moveTo>
                  <a:cubicBezTo>
                    <a:pt x="100" y="68"/>
                    <a:pt x="107" y="74"/>
                    <a:pt x="111" y="82"/>
                  </a:cubicBezTo>
                  <a:cubicBezTo>
                    <a:pt x="115" y="90"/>
                    <a:pt x="117" y="99"/>
                    <a:pt x="117" y="109"/>
                  </a:cubicBezTo>
                  <a:cubicBezTo>
                    <a:pt x="117" y="120"/>
                    <a:pt x="115" y="130"/>
                    <a:pt x="110" y="138"/>
                  </a:cubicBezTo>
                  <a:cubicBezTo>
                    <a:pt x="105" y="146"/>
                    <a:pt x="97" y="152"/>
                    <a:pt x="88" y="157"/>
                  </a:cubicBezTo>
                  <a:cubicBezTo>
                    <a:pt x="78" y="161"/>
                    <a:pt x="67" y="164"/>
                    <a:pt x="55" y="164"/>
                  </a:cubicBezTo>
                  <a:cubicBezTo>
                    <a:pt x="45" y="164"/>
                    <a:pt x="35" y="162"/>
                    <a:pt x="24" y="159"/>
                  </a:cubicBezTo>
                  <a:cubicBezTo>
                    <a:pt x="14" y="155"/>
                    <a:pt x="6" y="151"/>
                    <a:pt x="0" y="145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26" y="130"/>
                    <a:pt x="40" y="136"/>
                    <a:pt x="55" y="136"/>
                  </a:cubicBezTo>
                  <a:cubicBezTo>
                    <a:pt x="74" y="136"/>
                    <a:pt x="84" y="127"/>
                    <a:pt x="84" y="110"/>
                  </a:cubicBezTo>
                  <a:cubicBezTo>
                    <a:pt x="84" y="102"/>
                    <a:pt x="81" y="96"/>
                    <a:pt x="76" y="92"/>
                  </a:cubicBezTo>
                  <a:cubicBezTo>
                    <a:pt x="71" y="87"/>
                    <a:pt x="65" y="85"/>
                    <a:pt x="56" y="85"/>
                  </a:cubicBezTo>
                  <a:cubicBezTo>
                    <a:pt x="51" y="85"/>
                    <a:pt x="46" y="86"/>
                    <a:pt x="40" y="88"/>
                  </a:cubicBezTo>
                  <a:cubicBezTo>
                    <a:pt x="35" y="90"/>
                    <a:pt x="30" y="92"/>
                    <a:pt x="26" y="96"/>
                  </a:cubicBezTo>
                  <a:cubicBezTo>
                    <a:pt x="6" y="96"/>
                    <a:pt x="6" y="96"/>
                    <a:pt x="6" y="9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7" y="59"/>
                    <a:pt x="56" y="57"/>
                    <a:pt x="66" y="57"/>
                  </a:cubicBezTo>
                  <a:cubicBezTo>
                    <a:pt x="76" y="57"/>
                    <a:pt x="85" y="59"/>
                    <a:pt x="93" y="64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ïśḷídê">
              <a:extLst>
                <a:ext uri="{FF2B5EF4-FFF2-40B4-BE49-F238E27FC236}">
                  <a16:creationId xmlns:a16="http://schemas.microsoft.com/office/drawing/2014/main" id="{816F37C8-A241-437B-BBB1-5EC1B8B34297}"/>
                </a:ext>
              </a:extLst>
            </p:cNvPr>
            <p:cNvSpPr/>
            <p:nvPr/>
          </p:nvSpPr>
          <p:spPr bwMode="auto">
            <a:xfrm>
              <a:off x="9930491" y="5481454"/>
              <a:ext cx="189234" cy="255179"/>
            </a:xfrm>
            <a:custGeom>
              <a:avLst/>
              <a:gdLst>
                <a:gd name="T0" fmla="*/ 97 w 121"/>
                <a:gd name="T1" fmla="*/ 65 h 165"/>
                <a:gd name="T2" fmla="*/ 115 w 121"/>
                <a:gd name="T3" fmla="*/ 83 h 165"/>
                <a:gd name="T4" fmla="*/ 121 w 121"/>
                <a:gd name="T5" fmla="*/ 111 h 165"/>
                <a:gd name="T6" fmla="*/ 114 w 121"/>
                <a:gd name="T7" fmla="*/ 139 h 165"/>
                <a:gd name="T8" fmla="*/ 94 w 121"/>
                <a:gd name="T9" fmla="*/ 158 h 165"/>
                <a:gd name="T10" fmla="*/ 66 w 121"/>
                <a:gd name="T11" fmla="*/ 165 h 165"/>
                <a:gd name="T12" fmla="*/ 17 w 121"/>
                <a:gd name="T13" fmla="*/ 144 h 165"/>
                <a:gd name="T14" fmla="*/ 0 w 121"/>
                <a:gd name="T15" fmla="*/ 85 h 165"/>
                <a:gd name="T16" fmla="*/ 9 w 121"/>
                <a:gd name="T17" fmla="*/ 39 h 165"/>
                <a:gd name="T18" fmla="*/ 32 w 121"/>
                <a:gd name="T19" fmla="*/ 10 h 165"/>
                <a:gd name="T20" fmla="*/ 68 w 121"/>
                <a:gd name="T21" fmla="*/ 0 h 165"/>
                <a:gd name="T22" fmla="*/ 97 w 121"/>
                <a:gd name="T23" fmla="*/ 4 h 165"/>
                <a:gd name="T24" fmla="*/ 121 w 121"/>
                <a:gd name="T25" fmla="*/ 18 h 165"/>
                <a:gd name="T26" fmla="*/ 110 w 121"/>
                <a:gd name="T27" fmla="*/ 43 h 165"/>
                <a:gd name="T28" fmla="*/ 70 w 121"/>
                <a:gd name="T29" fmla="*/ 28 h 165"/>
                <a:gd name="T30" fmla="*/ 45 w 121"/>
                <a:gd name="T31" fmla="*/ 40 h 165"/>
                <a:gd name="T32" fmla="*/ 35 w 121"/>
                <a:gd name="T33" fmla="*/ 78 h 165"/>
                <a:gd name="T34" fmla="*/ 50 w 121"/>
                <a:gd name="T35" fmla="*/ 63 h 165"/>
                <a:gd name="T36" fmla="*/ 72 w 121"/>
                <a:gd name="T37" fmla="*/ 58 h 165"/>
                <a:gd name="T38" fmla="*/ 97 w 121"/>
                <a:gd name="T39" fmla="*/ 65 h 165"/>
                <a:gd name="T40" fmla="*/ 81 w 121"/>
                <a:gd name="T41" fmla="*/ 130 h 165"/>
                <a:gd name="T42" fmla="*/ 88 w 121"/>
                <a:gd name="T43" fmla="*/ 112 h 165"/>
                <a:gd name="T44" fmla="*/ 81 w 121"/>
                <a:gd name="T45" fmla="*/ 93 h 165"/>
                <a:gd name="T46" fmla="*/ 64 w 121"/>
                <a:gd name="T47" fmla="*/ 86 h 165"/>
                <a:gd name="T48" fmla="*/ 46 w 121"/>
                <a:gd name="T49" fmla="*/ 93 h 165"/>
                <a:gd name="T50" fmla="*/ 40 w 121"/>
                <a:gd name="T51" fmla="*/ 112 h 165"/>
                <a:gd name="T52" fmla="*/ 46 w 121"/>
                <a:gd name="T53" fmla="*/ 130 h 165"/>
                <a:gd name="T54" fmla="*/ 64 w 121"/>
                <a:gd name="T55" fmla="*/ 137 h 165"/>
                <a:gd name="T56" fmla="*/ 81 w 121"/>
                <a:gd name="T57" fmla="*/ 13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1" h="165">
                  <a:moveTo>
                    <a:pt x="97" y="65"/>
                  </a:moveTo>
                  <a:cubicBezTo>
                    <a:pt x="105" y="69"/>
                    <a:pt x="111" y="75"/>
                    <a:pt x="115" y="83"/>
                  </a:cubicBezTo>
                  <a:cubicBezTo>
                    <a:pt x="119" y="91"/>
                    <a:pt x="121" y="100"/>
                    <a:pt x="121" y="111"/>
                  </a:cubicBezTo>
                  <a:cubicBezTo>
                    <a:pt x="121" y="121"/>
                    <a:pt x="119" y="130"/>
                    <a:pt x="114" y="139"/>
                  </a:cubicBezTo>
                  <a:cubicBezTo>
                    <a:pt x="109" y="147"/>
                    <a:pt x="103" y="153"/>
                    <a:pt x="94" y="158"/>
                  </a:cubicBezTo>
                  <a:cubicBezTo>
                    <a:pt x="86" y="163"/>
                    <a:pt x="76" y="165"/>
                    <a:pt x="66" y="165"/>
                  </a:cubicBezTo>
                  <a:cubicBezTo>
                    <a:pt x="45" y="165"/>
                    <a:pt x="29" y="158"/>
                    <a:pt x="17" y="144"/>
                  </a:cubicBezTo>
                  <a:cubicBezTo>
                    <a:pt x="6" y="130"/>
                    <a:pt x="0" y="111"/>
                    <a:pt x="0" y="85"/>
                  </a:cubicBezTo>
                  <a:cubicBezTo>
                    <a:pt x="0" y="67"/>
                    <a:pt x="3" y="52"/>
                    <a:pt x="9" y="39"/>
                  </a:cubicBezTo>
                  <a:cubicBezTo>
                    <a:pt x="14" y="26"/>
                    <a:pt x="22" y="17"/>
                    <a:pt x="32" y="10"/>
                  </a:cubicBezTo>
                  <a:cubicBezTo>
                    <a:pt x="42" y="3"/>
                    <a:pt x="54" y="0"/>
                    <a:pt x="68" y="0"/>
                  </a:cubicBezTo>
                  <a:cubicBezTo>
                    <a:pt x="78" y="0"/>
                    <a:pt x="88" y="1"/>
                    <a:pt x="97" y="4"/>
                  </a:cubicBezTo>
                  <a:cubicBezTo>
                    <a:pt x="107" y="8"/>
                    <a:pt x="115" y="12"/>
                    <a:pt x="121" y="18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96" y="33"/>
                    <a:pt x="83" y="28"/>
                    <a:pt x="70" y="28"/>
                  </a:cubicBezTo>
                  <a:cubicBezTo>
                    <a:pt x="59" y="28"/>
                    <a:pt x="51" y="32"/>
                    <a:pt x="45" y="40"/>
                  </a:cubicBezTo>
                  <a:cubicBezTo>
                    <a:pt x="39" y="49"/>
                    <a:pt x="36" y="61"/>
                    <a:pt x="35" y="78"/>
                  </a:cubicBezTo>
                  <a:cubicBezTo>
                    <a:pt x="39" y="72"/>
                    <a:pt x="44" y="67"/>
                    <a:pt x="50" y="63"/>
                  </a:cubicBezTo>
                  <a:cubicBezTo>
                    <a:pt x="57" y="60"/>
                    <a:pt x="64" y="58"/>
                    <a:pt x="72" y="58"/>
                  </a:cubicBezTo>
                  <a:cubicBezTo>
                    <a:pt x="82" y="58"/>
                    <a:pt x="90" y="60"/>
                    <a:pt x="97" y="65"/>
                  </a:cubicBezTo>
                  <a:close/>
                  <a:moveTo>
                    <a:pt x="81" y="130"/>
                  </a:moveTo>
                  <a:cubicBezTo>
                    <a:pt x="85" y="126"/>
                    <a:pt x="88" y="120"/>
                    <a:pt x="88" y="112"/>
                  </a:cubicBezTo>
                  <a:cubicBezTo>
                    <a:pt x="88" y="104"/>
                    <a:pt x="86" y="98"/>
                    <a:pt x="81" y="93"/>
                  </a:cubicBezTo>
                  <a:cubicBezTo>
                    <a:pt x="77" y="88"/>
                    <a:pt x="71" y="86"/>
                    <a:pt x="64" y="86"/>
                  </a:cubicBezTo>
                  <a:cubicBezTo>
                    <a:pt x="57" y="86"/>
                    <a:pt x="51" y="88"/>
                    <a:pt x="46" y="93"/>
                  </a:cubicBezTo>
                  <a:cubicBezTo>
                    <a:pt x="42" y="98"/>
                    <a:pt x="40" y="104"/>
                    <a:pt x="40" y="112"/>
                  </a:cubicBezTo>
                  <a:cubicBezTo>
                    <a:pt x="40" y="119"/>
                    <a:pt x="42" y="126"/>
                    <a:pt x="46" y="130"/>
                  </a:cubicBezTo>
                  <a:cubicBezTo>
                    <a:pt x="51" y="135"/>
                    <a:pt x="57" y="137"/>
                    <a:pt x="64" y="137"/>
                  </a:cubicBezTo>
                  <a:cubicBezTo>
                    <a:pt x="71" y="137"/>
                    <a:pt x="77" y="135"/>
                    <a:pt x="81" y="130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šľiḍê">
              <a:extLst>
                <a:ext uri="{FF2B5EF4-FFF2-40B4-BE49-F238E27FC236}">
                  <a16:creationId xmlns:a16="http://schemas.microsoft.com/office/drawing/2014/main" id="{19C1E571-1B66-48BC-91C9-0DA6CAC3C3F0}"/>
                </a:ext>
              </a:extLst>
            </p:cNvPr>
            <p:cNvSpPr/>
            <p:nvPr/>
          </p:nvSpPr>
          <p:spPr bwMode="auto">
            <a:xfrm>
              <a:off x="9941960" y="4985431"/>
              <a:ext cx="180633" cy="249445"/>
            </a:xfrm>
            <a:custGeom>
              <a:avLst/>
              <a:gdLst>
                <a:gd name="T0" fmla="*/ 0 w 126"/>
                <a:gd name="T1" fmla="*/ 0 h 174"/>
                <a:gd name="T2" fmla="*/ 126 w 126"/>
                <a:gd name="T3" fmla="*/ 0 h 174"/>
                <a:gd name="T4" fmla="*/ 126 w 126"/>
                <a:gd name="T5" fmla="*/ 28 h 174"/>
                <a:gd name="T6" fmla="*/ 48 w 126"/>
                <a:gd name="T7" fmla="*/ 174 h 174"/>
                <a:gd name="T8" fmla="*/ 6 w 126"/>
                <a:gd name="T9" fmla="*/ 174 h 174"/>
                <a:gd name="T10" fmla="*/ 85 w 126"/>
                <a:gd name="T11" fmla="*/ 30 h 174"/>
                <a:gd name="T12" fmla="*/ 0 w 126"/>
                <a:gd name="T13" fmla="*/ 30 h 174"/>
                <a:gd name="T14" fmla="*/ 0 w 126"/>
                <a:gd name="T1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174">
                  <a:moveTo>
                    <a:pt x="0" y="0"/>
                  </a:moveTo>
                  <a:lnTo>
                    <a:pt x="126" y="0"/>
                  </a:lnTo>
                  <a:lnTo>
                    <a:pt x="126" y="28"/>
                  </a:lnTo>
                  <a:lnTo>
                    <a:pt x="48" y="174"/>
                  </a:lnTo>
                  <a:lnTo>
                    <a:pt x="6" y="174"/>
                  </a:lnTo>
                  <a:lnTo>
                    <a:pt x="85" y="30"/>
                  </a:lnTo>
                  <a:lnTo>
                    <a:pt x="0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îšļïḑe">
              <a:extLst>
                <a:ext uri="{FF2B5EF4-FFF2-40B4-BE49-F238E27FC236}">
                  <a16:creationId xmlns:a16="http://schemas.microsoft.com/office/drawing/2014/main" id="{07C70DE1-2474-4833-BD3D-CACDA9696956}"/>
                </a:ext>
              </a:extLst>
            </p:cNvPr>
            <p:cNvSpPr/>
            <p:nvPr/>
          </p:nvSpPr>
          <p:spPr bwMode="auto">
            <a:xfrm>
              <a:off x="9431602" y="5481454"/>
              <a:ext cx="193536" cy="255179"/>
            </a:xfrm>
            <a:custGeom>
              <a:avLst/>
              <a:gdLst>
                <a:gd name="T0" fmla="*/ 115 w 124"/>
                <a:gd name="T1" fmla="*/ 94 h 165"/>
                <a:gd name="T2" fmla="*/ 124 w 124"/>
                <a:gd name="T3" fmla="*/ 119 h 165"/>
                <a:gd name="T4" fmla="*/ 116 w 124"/>
                <a:gd name="T5" fmla="*/ 144 h 165"/>
                <a:gd name="T6" fmla="*/ 94 w 124"/>
                <a:gd name="T7" fmla="*/ 159 h 165"/>
                <a:gd name="T8" fmla="*/ 62 w 124"/>
                <a:gd name="T9" fmla="*/ 165 h 165"/>
                <a:gd name="T10" fmla="*/ 30 w 124"/>
                <a:gd name="T11" fmla="*/ 159 h 165"/>
                <a:gd name="T12" fmla="*/ 8 w 124"/>
                <a:gd name="T13" fmla="*/ 144 h 165"/>
                <a:gd name="T14" fmla="*/ 0 w 124"/>
                <a:gd name="T15" fmla="*/ 119 h 165"/>
                <a:gd name="T16" fmla="*/ 9 w 124"/>
                <a:gd name="T17" fmla="*/ 94 h 165"/>
                <a:gd name="T18" fmla="*/ 33 w 124"/>
                <a:gd name="T19" fmla="*/ 80 h 165"/>
                <a:gd name="T20" fmla="*/ 12 w 124"/>
                <a:gd name="T21" fmla="*/ 66 h 165"/>
                <a:gd name="T22" fmla="*/ 4 w 124"/>
                <a:gd name="T23" fmla="*/ 44 h 165"/>
                <a:gd name="T24" fmla="*/ 12 w 124"/>
                <a:gd name="T25" fmla="*/ 20 h 165"/>
                <a:gd name="T26" fmla="*/ 32 w 124"/>
                <a:gd name="T27" fmla="*/ 5 h 165"/>
                <a:gd name="T28" fmla="*/ 62 w 124"/>
                <a:gd name="T29" fmla="*/ 0 h 165"/>
                <a:gd name="T30" fmla="*/ 92 w 124"/>
                <a:gd name="T31" fmla="*/ 5 h 165"/>
                <a:gd name="T32" fmla="*/ 113 w 124"/>
                <a:gd name="T33" fmla="*/ 20 h 165"/>
                <a:gd name="T34" fmla="*/ 120 w 124"/>
                <a:gd name="T35" fmla="*/ 44 h 165"/>
                <a:gd name="T36" fmla="*/ 112 w 124"/>
                <a:gd name="T37" fmla="*/ 66 h 165"/>
                <a:gd name="T38" fmla="*/ 91 w 124"/>
                <a:gd name="T39" fmla="*/ 80 h 165"/>
                <a:gd name="T40" fmla="*/ 115 w 124"/>
                <a:gd name="T41" fmla="*/ 94 h 165"/>
                <a:gd name="T42" fmla="*/ 83 w 124"/>
                <a:gd name="T43" fmla="*/ 132 h 165"/>
                <a:gd name="T44" fmla="*/ 91 w 124"/>
                <a:gd name="T45" fmla="*/ 117 h 165"/>
                <a:gd name="T46" fmla="*/ 83 w 124"/>
                <a:gd name="T47" fmla="*/ 101 h 165"/>
                <a:gd name="T48" fmla="*/ 62 w 124"/>
                <a:gd name="T49" fmla="*/ 93 h 165"/>
                <a:gd name="T50" fmla="*/ 41 w 124"/>
                <a:gd name="T51" fmla="*/ 101 h 165"/>
                <a:gd name="T52" fmla="*/ 33 w 124"/>
                <a:gd name="T53" fmla="*/ 117 h 165"/>
                <a:gd name="T54" fmla="*/ 41 w 124"/>
                <a:gd name="T55" fmla="*/ 132 h 165"/>
                <a:gd name="T56" fmla="*/ 62 w 124"/>
                <a:gd name="T57" fmla="*/ 138 h 165"/>
                <a:gd name="T58" fmla="*/ 83 w 124"/>
                <a:gd name="T59" fmla="*/ 132 h 165"/>
                <a:gd name="T60" fmla="*/ 44 w 124"/>
                <a:gd name="T61" fmla="*/ 32 h 165"/>
                <a:gd name="T62" fmla="*/ 37 w 124"/>
                <a:gd name="T63" fmla="*/ 47 h 165"/>
                <a:gd name="T64" fmla="*/ 44 w 124"/>
                <a:gd name="T65" fmla="*/ 63 h 165"/>
                <a:gd name="T66" fmla="*/ 62 w 124"/>
                <a:gd name="T67" fmla="*/ 71 h 165"/>
                <a:gd name="T68" fmla="*/ 80 w 124"/>
                <a:gd name="T69" fmla="*/ 63 h 165"/>
                <a:gd name="T70" fmla="*/ 87 w 124"/>
                <a:gd name="T71" fmla="*/ 47 h 165"/>
                <a:gd name="T72" fmla="*/ 80 w 124"/>
                <a:gd name="T73" fmla="*/ 32 h 165"/>
                <a:gd name="T74" fmla="*/ 62 w 124"/>
                <a:gd name="T75" fmla="*/ 27 h 165"/>
                <a:gd name="T76" fmla="*/ 44 w 124"/>
                <a:gd name="T77" fmla="*/ 3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4" h="165">
                  <a:moveTo>
                    <a:pt x="115" y="94"/>
                  </a:moveTo>
                  <a:cubicBezTo>
                    <a:pt x="121" y="101"/>
                    <a:pt x="124" y="109"/>
                    <a:pt x="124" y="119"/>
                  </a:cubicBezTo>
                  <a:cubicBezTo>
                    <a:pt x="124" y="129"/>
                    <a:pt x="121" y="137"/>
                    <a:pt x="116" y="144"/>
                  </a:cubicBezTo>
                  <a:cubicBezTo>
                    <a:pt x="111" y="150"/>
                    <a:pt x="104" y="156"/>
                    <a:pt x="94" y="159"/>
                  </a:cubicBezTo>
                  <a:cubicBezTo>
                    <a:pt x="85" y="163"/>
                    <a:pt x="74" y="165"/>
                    <a:pt x="62" y="165"/>
                  </a:cubicBezTo>
                  <a:cubicBezTo>
                    <a:pt x="50" y="165"/>
                    <a:pt x="39" y="163"/>
                    <a:pt x="30" y="159"/>
                  </a:cubicBezTo>
                  <a:cubicBezTo>
                    <a:pt x="21" y="156"/>
                    <a:pt x="13" y="150"/>
                    <a:pt x="8" y="144"/>
                  </a:cubicBezTo>
                  <a:cubicBezTo>
                    <a:pt x="3" y="137"/>
                    <a:pt x="0" y="129"/>
                    <a:pt x="0" y="119"/>
                  </a:cubicBezTo>
                  <a:cubicBezTo>
                    <a:pt x="0" y="109"/>
                    <a:pt x="3" y="101"/>
                    <a:pt x="9" y="94"/>
                  </a:cubicBezTo>
                  <a:cubicBezTo>
                    <a:pt x="15" y="87"/>
                    <a:pt x="23" y="83"/>
                    <a:pt x="33" y="80"/>
                  </a:cubicBezTo>
                  <a:cubicBezTo>
                    <a:pt x="24" y="77"/>
                    <a:pt x="17" y="72"/>
                    <a:pt x="12" y="66"/>
                  </a:cubicBezTo>
                  <a:cubicBezTo>
                    <a:pt x="7" y="60"/>
                    <a:pt x="4" y="52"/>
                    <a:pt x="4" y="44"/>
                  </a:cubicBezTo>
                  <a:cubicBezTo>
                    <a:pt x="4" y="35"/>
                    <a:pt x="7" y="27"/>
                    <a:pt x="12" y="20"/>
                  </a:cubicBezTo>
                  <a:cubicBezTo>
                    <a:pt x="17" y="14"/>
                    <a:pt x="24" y="9"/>
                    <a:pt x="32" y="5"/>
                  </a:cubicBezTo>
                  <a:cubicBezTo>
                    <a:pt x="41" y="2"/>
                    <a:pt x="51" y="0"/>
                    <a:pt x="62" y="0"/>
                  </a:cubicBezTo>
                  <a:cubicBezTo>
                    <a:pt x="73" y="0"/>
                    <a:pt x="83" y="2"/>
                    <a:pt x="92" y="5"/>
                  </a:cubicBezTo>
                  <a:cubicBezTo>
                    <a:pt x="101" y="9"/>
                    <a:pt x="108" y="14"/>
                    <a:pt x="113" y="20"/>
                  </a:cubicBezTo>
                  <a:cubicBezTo>
                    <a:pt x="118" y="27"/>
                    <a:pt x="120" y="35"/>
                    <a:pt x="120" y="44"/>
                  </a:cubicBezTo>
                  <a:cubicBezTo>
                    <a:pt x="120" y="52"/>
                    <a:pt x="118" y="60"/>
                    <a:pt x="112" y="66"/>
                  </a:cubicBezTo>
                  <a:cubicBezTo>
                    <a:pt x="107" y="73"/>
                    <a:pt x="100" y="77"/>
                    <a:pt x="91" y="80"/>
                  </a:cubicBezTo>
                  <a:cubicBezTo>
                    <a:pt x="102" y="83"/>
                    <a:pt x="110" y="88"/>
                    <a:pt x="115" y="94"/>
                  </a:cubicBezTo>
                  <a:close/>
                  <a:moveTo>
                    <a:pt x="83" y="132"/>
                  </a:moveTo>
                  <a:cubicBezTo>
                    <a:pt x="89" y="129"/>
                    <a:pt x="91" y="123"/>
                    <a:pt x="91" y="117"/>
                  </a:cubicBezTo>
                  <a:cubicBezTo>
                    <a:pt x="91" y="110"/>
                    <a:pt x="89" y="105"/>
                    <a:pt x="83" y="101"/>
                  </a:cubicBezTo>
                  <a:cubicBezTo>
                    <a:pt x="78" y="97"/>
                    <a:pt x="71" y="94"/>
                    <a:pt x="62" y="93"/>
                  </a:cubicBezTo>
                  <a:cubicBezTo>
                    <a:pt x="53" y="94"/>
                    <a:pt x="46" y="97"/>
                    <a:pt x="41" y="101"/>
                  </a:cubicBezTo>
                  <a:cubicBezTo>
                    <a:pt x="36" y="105"/>
                    <a:pt x="33" y="110"/>
                    <a:pt x="33" y="117"/>
                  </a:cubicBezTo>
                  <a:cubicBezTo>
                    <a:pt x="33" y="123"/>
                    <a:pt x="36" y="129"/>
                    <a:pt x="41" y="132"/>
                  </a:cubicBezTo>
                  <a:cubicBezTo>
                    <a:pt x="46" y="136"/>
                    <a:pt x="53" y="138"/>
                    <a:pt x="62" y="138"/>
                  </a:cubicBezTo>
                  <a:cubicBezTo>
                    <a:pt x="71" y="138"/>
                    <a:pt x="78" y="136"/>
                    <a:pt x="83" y="132"/>
                  </a:cubicBezTo>
                  <a:close/>
                  <a:moveTo>
                    <a:pt x="44" y="32"/>
                  </a:moveTo>
                  <a:cubicBezTo>
                    <a:pt x="40" y="36"/>
                    <a:pt x="37" y="41"/>
                    <a:pt x="37" y="47"/>
                  </a:cubicBezTo>
                  <a:cubicBezTo>
                    <a:pt x="37" y="54"/>
                    <a:pt x="40" y="59"/>
                    <a:pt x="44" y="63"/>
                  </a:cubicBezTo>
                  <a:cubicBezTo>
                    <a:pt x="49" y="67"/>
                    <a:pt x="55" y="69"/>
                    <a:pt x="62" y="71"/>
                  </a:cubicBezTo>
                  <a:cubicBezTo>
                    <a:pt x="70" y="69"/>
                    <a:pt x="76" y="67"/>
                    <a:pt x="80" y="63"/>
                  </a:cubicBezTo>
                  <a:cubicBezTo>
                    <a:pt x="85" y="59"/>
                    <a:pt x="87" y="54"/>
                    <a:pt x="87" y="47"/>
                  </a:cubicBezTo>
                  <a:cubicBezTo>
                    <a:pt x="87" y="41"/>
                    <a:pt x="85" y="36"/>
                    <a:pt x="80" y="32"/>
                  </a:cubicBezTo>
                  <a:cubicBezTo>
                    <a:pt x="76" y="29"/>
                    <a:pt x="70" y="27"/>
                    <a:pt x="62" y="27"/>
                  </a:cubicBezTo>
                  <a:cubicBezTo>
                    <a:pt x="55" y="27"/>
                    <a:pt x="49" y="29"/>
                    <a:pt x="44" y="32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iśľîdé">
              <a:extLst>
                <a:ext uri="{FF2B5EF4-FFF2-40B4-BE49-F238E27FC236}">
                  <a16:creationId xmlns:a16="http://schemas.microsoft.com/office/drawing/2014/main" id="{5EA9FC46-1293-4692-B276-E5DF4C5B4021}"/>
                </a:ext>
              </a:extLst>
            </p:cNvPr>
            <p:cNvSpPr/>
            <p:nvPr/>
          </p:nvSpPr>
          <p:spPr bwMode="auto">
            <a:xfrm>
              <a:off x="9447371" y="4976830"/>
              <a:ext cx="163429" cy="252312"/>
            </a:xfrm>
            <a:custGeom>
              <a:avLst/>
              <a:gdLst>
                <a:gd name="T0" fmla="*/ 76 w 114"/>
                <a:gd name="T1" fmla="*/ 145 h 176"/>
                <a:gd name="T2" fmla="*/ 114 w 114"/>
                <a:gd name="T3" fmla="*/ 145 h 176"/>
                <a:gd name="T4" fmla="*/ 114 w 114"/>
                <a:gd name="T5" fmla="*/ 176 h 176"/>
                <a:gd name="T6" fmla="*/ 0 w 114"/>
                <a:gd name="T7" fmla="*/ 176 h 176"/>
                <a:gd name="T8" fmla="*/ 0 w 114"/>
                <a:gd name="T9" fmla="*/ 145 h 176"/>
                <a:gd name="T10" fmla="*/ 37 w 114"/>
                <a:gd name="T11" fmla="*/ 145 h 176"/>
                <a:gd name="T12" fmla="*/ 37 w 114"/>
                <a:gd name="T13" fmla="*/ 44 h 176"/>
                <a:gd name="T14" fmla="*/ 2 w 114"/>
                <a:gd name="T15" fmla="*/ 64 h 176"/>
                <a:gd name="T16" fmla="*/ 2 w 114"/>
                <a:gd name="T17" fmla="*/ 31 h 176"/>
                <a:gd name="T18" fmla="*/ 53 w 114"/>
                <a:gd name="T19" fmla="*/ 0 h 176"/>
                <a:gd name="T20" fmla="*/ 76 w 114"/>
                <a:gd name="T21" fmla="*/ 0 h 176"/>
                <a:gd name="T22" fmla="*/ 76 w 114"/>
                <a:gd name="T23" fmla="*/ 14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4" h="176">
                  <a:moveTo>
                    <a:pt x="76" y="145"/>
                  </a:moveTo>
                  <a:lnTo>
                    <a:pt x="114" y="145"/>
                  </a:lnTo>
                  <a:lnTo>
                    <a:pt x="114" y="176"/>
                  </a:lnTo>
                  <a:lnTo>
                    <a:pt x="0" y="176"/>
                  </a:lnTo>
                  <a:lnTo>
                    <a:pt x="0" y="145"/>
                  </a:lnTo>
                  <a:lnTo>
                    <a:pt x="37" y="145"/>
                  </a:lnTo>
                  <a:lnTo>
                    <a:pt x="37" y="44"/>
                  </a:lnTo>
                  <a:lnTo>
                    <a:pt x="2" y="64"/>
                  </a:lnTo>
                  <a:lnTo>
                    <a:pt x="2" y="31"/>
                  </a:lnTo>
                  <a:lnTo>
                    <a:pt x="53" y="0"/>
                  </a:lnTo>
                  <a:lnTo>
                    <a:pt x="76" y="0"/>
                  </a:lnTo>
                  <a:lnTo>
                    <a:pt x="76" y="145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îşḻîďê">
              <a:extLst>
                <a:ext uri="{FF2B5EF4-FFF2-40B4-BE49-F238E27FC236}">
                  <a16:creationId xmlns:a16="http://schemas.microsoft.com/office/drawing/2014/main" id="{F7EBED16-8441-428E-994B-17F49B586B67}"/>
                </a:ext>
              </a:extLst>
            </p:cNvPr>
            <p:cNvSpPr/>
            <p:nvPr/>
          </p:nvSpPr>
          <p:spPr bwMode="auto">
            <a:xfrm>
              <a:off x="5800316" y="2310351"/>
              <a:ext cx="1337541" cy="1037919"/>
            </a:xfrm>
            <a:custGeom>
              <a:avLst/>
              <a:gdLst>
                <a:gd name="T0" fmla="*/ 856 w 860"/>
                <a:gd name="T1" fmla="*/ 298 h 668"/>
                <a:gd name="T2" fmla="*/ 710 w 860"/>
                <a:gd name="T3" fmla="*/ 169 h 668"/>
                <a:gd name="T4" fmla="*/ 710 w 860"/>
                <a:gd name="T5" fmla="*/ 162 h 668"/>
                <a:gd name="T6" fmla="*/ 531 w 860"/>
                <a:gd name="T7" fmla="*/ 6 h 668"/>
                <a:gd name="T8" fmla="*/ 409 w 860"/>
                <a:gd name="T9" fmla="*/ 72 h 668"/>
                <a:gd name="T10" fmla="*/ 289 w 860"/>
                <a:gd name="T11" fmla="*/ 27 h 668"/>
                <a:gd name="T12" fmla="*/ 144 w 860"/>
                <a:gd name="T13" fmla="*/ 184 h 668"/>
                <a:gd name="T14" fmla="*/ 134 w 860"/>
                <a:gd name="T15" fmla="*/ 184 h 668"/>
                <a:gd name="T16" fmla="*/ 5 w 860"/>
                <a:gd name="T17" fmla="*/ 331 h 668"/>
                <a:gd name="T18" fmla="*/ 97 w 860"/>
                <a:gd name="T19" fmla="*/ 452 h 668"/>
                <a:gd name="T20" fmla="*/ 92 w 860"/>
                <a:gd name="T21" fmla="*/ 502 h 668"/>
                <a:gd name="T22" fmla="*/ 271 w 860"/>
                <a:gd name="T23" fmla="*/ 663 h 668"/>
                <a:gd name="T24" fmla="*/ 350 w 860"/>
                <a:gd name="T25" fmla="*/ 639 h 668"/>
                <a:gd name="T26" fmla="*/ 363 w 860"/>
                <a:gd name="T27" fmla="*/ 646 h 668"/>
                <a:gd name="T28" fmla="*/ 439 w 860"/>
                <a:gd name="T29" fmla="*/ 664 h 668"/>
                <a:gd name="T30" fmla="*/ 550 w 860"/>
                <a:gd name="T31" fmla="*/ 589 h 668"/>
                <a:gd name="T32" fmla="*/ 630 w 860"/>
                <a:gd name="T33" fmla="*/ 606 h 668"/>
                <a:gd name="T34" fmla="*/ 770 w 860"/>
                <a:gd name="T35" fmla="*/ 447 h 668"/>
                <a:gd name="T36" fmla="*/ 768 w 860"/>
                <a:gd name="T37" fmla="*/ 437 h 668"/>
                <a:gd name="T38" fmla="*/ 856 w 860"/>
                <a:gd name="T39" fmla="*/ 298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0" h="668">
                  <a:moveTo>
                    <a:pt x="856" y="298"/>
                  </a:moveTo>
                  <a:cubicBezTo>
                    <a:pt x="851" y="223"/>
                    <a:pt x="786" y="165"/>
                    <a:pt x="710" y="169"/>
                  </a:cubicBezTo>
                  <a:cubicBezTo>
                    <a:pt x="710" y="167"/>
                    <a:pt x="710" y="165"/>
                    <a:pt x="710" y="162"/>
                  </a:cubicBezTo>
                  <a:cubicBezTo>
                    <a:pt x="704" y="70"/>
                    <a:pt x="624" y="0"/>
                    <a:pt x="531" y="6"/>
                  </a:cubicBezTo>
                  <a:cubicBezTo>
                    <a:pt x="481" y="9"/>
                    <a:pt x="437" y="35"/>
                    <a:pt x="409" y="72"/>
                  </a:cubicBezTo>
                  <a:cubicBezTo>
                    <a:pt x="378" y="41"/>
                    <a:pt x="335" y="24"/>
                    <a:pt x="289" y="27"/>
                  </a:cubicBezTo>
                  <a:cubicBezTo>
                    <a:pt x="206" y="32"/>
                    <a:pt x="143" y="102"/>
                    <a:pt x="144" y="184"/>
                  </a:cubicBezTo>
                  <a:cubicBezTo>
                    <a:pt x="141" y="183"/>
                    <a:pt x="137" y="184"/>
                    <a:pt x="134" y="184"/>
                  </a:cubicBezTo>
                  <a:cubicBezTo>
                    <a:pt x="57" y="189"/>
                    <a:pt x="0" y="255"/>
                    <a:pt x="5" y="331"/>
                  </a:cubicBezTo>
                  <a:cubicBezTo>
                    <a:pt x="9" y="388"/>
                    <a:pt x="46" y="435"/>
                    <a:pt x="97" y="452"/>
                  </a:cubicBezTo>
                  <a:cubicBezTo>
                    <a:pt x="93" y="468"/>
                    <a:pt x="91" y="485"/>
                    <a:pt x="92" y="502"/>
                  </a:cubicBezTo>
                  <a:cubicBezTo>
                    <a:pt x="97" y="596"/>
                    <a:pt x="177" y="668"/>
                    <a:pt x="271" y="663"/>
                  </a:cubicBezTo>
                  <a:cubicBezTo>
                    <a:pt x="300" y="662"/>
                    <a:pt x="327" y="653"/>
                    <a:pt x="350" y="639"/>
                  </a:cubicBezTo>
                  <a:cubicBezTo>
                    <a:pt x="358" y="643"/>
                    <a:pt x="363" y="646"/>
                    <a:pt x="363" y="646"/>
                  </a:cubicBezTo>
                  <a:cubicBezTo>
                    <a:pt x="385" y="659"/>
                    <a:pt x="411" y="665"/>
                    <a:pt x="439" y="664"/>
                  </a:cubicBezTo>
                  <a:cubicBezTo>
                    <a:pt x="488" y="660"/>
                    <a:pt x="529" y="631"/>
                    <a:pt x="550" y="589"/>
                  </a:cubicBezTo>
                  <a:cubicBezTo>
                    <a:pt x="574" y="602"/>
                    <a:pt x="601" y="608"/>
                    <a:pt x="630" y="606"/>
                  </a:cubicBezTo>
                  <a:cubicBezTo>
                    <a:pt x="713" y="601"/>
                    <a:pt x="775" y="530"/>
                    <a:pt x="770" y="447"/>
                  </a:cubicBezTo>
                  <a:cubicBezTo>
                    <a:pt x="769" y="444"/>
                    <a:pt x="769" y="440"/>
                    <a:pt x="768" y="437"/>
                  </a:cubicBezTo>
                  <a:cubicBezTo>
                    <a:pt x="823" y="415"/>
                    <a:pt x="860" y="360"/>
                    <a:pt x="856" y="298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ïṩḷíḋê">
              <a:extLst>
                <a:ext uri="{FF2B5EF4-FFF2-40B4-BE49-F238E27FC236}">
                  <a16:creationId xmlns:a16="http://schemas.microsoft.com/office/drawing/2014/main" id="{AED2C25F-980B-4EF4-A24E-B3EC3BA255A7}"/>
                </a:ext>
              </a:extLst>
            </p:cNvPr>
            <p:cNvSpPr/>
            <p:nvPr/>
          </p:nvSpPr>
          <p:spPr bwMode="auto">
            <a:xfrm>
              <a:off x="6092769" y="3368341"/>
              <a:ext cx="192101" cy="190668"/>
            </a:xfrm>
            <a:custGeom>
              <a:avLst/>
              <a:gdLst>
                <a:gd name="T0" fmla="*/ 1 w 123"/>
                <a:gd name="T1" fmla="*/ 64 h 123"/>
                <a:gd name="T2" fmla="*/ 58 w 123"/>
                <a:gd name="T3" fmla="*/ 1 h 123"/>
                <a:gd name="T4" fmla="*/ 122 w 123"/>
                <a:gd name="T5" fmla="*/ 58 h 123"/>
                <a:gd name="T6" fmla="*/ 64 w 123"/>
                <a:gd name="T7" fmla="*/ 122 h 123"/>
                <a:gd name="T8" fmla="*/ 1 w 123"/>
                <a:gd name="T9" fmla="*/ 6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123">
                  <a:moveTo>
                    <a:pt x="1" y="64"/>
                  </a:moveTo>
                  <a:cubicBezTo>
                    <a:pt x="0" y="31"/>
                    <a:pt x="25" y="3"/>
                    <a:pt x="58" y="1"/>
                  </a:cubicBezTo>
                  <a:cubicBezTo>
                    <a:pt x="92" y="0"/>
                    <a:pt x="120" y="25"/>
                    <a:pt x="122" y="58"/>
                  </a:cubicBezTo>
                  <a:cubicBezTo>
                    <a:pt x="123" y="92"/>
                    <a:pt x="98" y="120"/>
                    <a:pt x="64" y="122"/>
                  </a:cubicBezTo>
                  <a:cubicBezTo>
                    <a:pt x="31" y="123"/>
                    <a:pt x="3" y="98"/>
                    <a:pt x="1" y="64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îṥḻîďé">
              <a:extLst>
                <a:ext uri="{FF2B5EF4-FFF2-40B4-BE49-F238E27FC236}">
                  <a16:creationId xmlns:a16="http://schemas.microsoft.com/office/drawing/2014/main" id="{4815FBB3-9F19-4180-A209-9FE99E5ED458}"/>
                </a:ext>
              </a:extLst>
            </p:cNvPr>
            <p:cNvSpPr/>
            <p:nvPr/>
          </p:nvSpPr>
          <p:spPr bwMode="auto">
            <a:xfrm>
              <a:off x="6267666" y="3561876"/>
              <a:ext cx="134758" cy="133324"/>
            </a:xfrm>
            <a:custGeom>
              <a:avLst/>
              <a:gdLst>
                <a:gd name="T0" fmla="*/ 1 w 87"/>
                <a:gd name="T1" fmla="*/ 45 h 86"/>
                <a:gd name="T2" fmla="*/ 41 w 87"/>
                <a:gd name="T3" fmla="*/ 1 h 86"/>
                <a:gd name="T4" fmla="*/ 86 w 87"/>
                <a:gd name="T5" fmla="*/ 41 h 86"/>
                <a:gd name="T6" fmla="*/ 46 w 87"/>
                <a:gd name="T7" fmla="*/ 85 h 86"/>
                <a:gd name="T8" fmla="*/ 1 w 87"/>
                <a:gd name="T9" fmla="*/ 4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1" y="45"/>
                  </a:moveTo>
                  <a:cubicBezTo>
                    <a:pt x="0" y="22"/>
                    <a:pt x="18" y="2"/>
                    <a:pt x="41" y="1"/>
                  </a:cubicBezTo>
                  <a:cubicBezTo>
                    <a:pt x="65" y="0"/>
                    <a:pt x="84" y="18"/>
                    <a:pt x="86" y="41"/>
                  </a:cubicBezTo>
                  <a:cubicBezTo>
                    <a:pt x="87" y="64"/>
                    <a:pt x="69" y="84"/>
                    <a:pt x="46" y="85"/>
                  </a:cubicBezTo>
                  <a:cubicBezTo>
                    <a:pt x="22" y="86"/>
                    <a:pt x="2" y="69"/>
                    <a:pt x="1" y="45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íSḷíde">
              <a:extLst>
                <a:ext uri="{FF2B5EF4-FFF2-40B4-BE49-F238E27FC236}">
                  <a16:creationId xmlns:a16="http://schemas.microsoft.com/office/drawing/2014/main" id="{0C37AFBC-CBFE-40F8-9D0A-6CD6EB257686}"/>
                </a:ext>
              </a:extLst>
            </p:cNvPr>
            <p:cNvSpPr/>
            <p:nvPr/>
          </p:nvSpPr>
          <p:spPr bwMode="auto">
            <a:xfrm>
              <a:off x="6015355" y="2648678"/>
              <a:ext cx="266648" cy="344062"/>
            </a:xfrm>
            <a:custGeom>
              <a:avLst/>
              <a:gdLst>
                <a:gd name="T0" fmla="*/ 186 w 186"/>
                <a:gd name="T1" fmla="*/ 158 h 240"/>
                <a:gd name="T2" fmla="*/ 183 w 186"/>
                <a:gd name="T3" fmla="*/ 198 h 240"/>
                <a:gd name="T4" fmla="*/ 151 w 186"/>
                <a:gd name="T5" fmla="*/ 196 h 240"/>
                <a:gd name="T6" fmla="*/ 148 w 186"/>
                <a:gd name="T7" fmla="*/ 240 h 240"/>
                <a:gd name="T8" fmla="*/ 97 w 186"/>
                <a:gd name="T9" fmla="*/ 236 h 240"/>
                <a:gd name="T10" fmla="*/ 100 w 186"/>
                <a:gd name="T11" fmla="*/ 193 h 240"/>
                <a:gd name="T12" fmla="*/ 0 w 186"/>
                <a:gd name="T13" fmla="*/ 186 h 240"/>
                <a:gd name="T14" fmla="*/ 3 w 186"/>
                <a:gd name="T15" fmla="*/ 149 h 240"/>
                <a:gd name="T16" fmla="*/ 122 w 186"/>
                <a:gd name="T17" fmla="*/ 0 h 240"/>
                <a:gd name="T18" fmla="*/ 163 w 186"/>
                <a:gd name="T19" fmla="*/ 3 h 240"/>
                <a:gd name="T20" fmla="*/ 153 w 186"/>
                <a:gd name="T21" fmla="*/ 156 h 240"/>
                <a:gd name="T22" fmla="*/ 186 w 186"/>
                <a:gd name="T23" fmla="*/ 158 h 240"/>
                <a:gd name="T24" fmla="*/ 51 w 186"/>
                <a:gd name="T25" fmla="*/ 150 h 240"/>
                <a:gd name="T26" fmla="*/ 102 w 186"/>
                <a:gd name="T27" fmla="*/ 153 h 240"/>
                <a:gd name="T28" fmla="*/ 107 w 186"/>
                <a:gd name="T29" fmla="*/ 79 h 240"/>
                <a:gd name="T30" fmla="*/ 51 w 186"/>
                <a:gd name="T31" fmla="*/ 15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6" h="240">
                  <a:moveTo>
                    <a:pt x="186" y="158"/>
                  </a:moveTo>
                  <a:lnTo>
                    <a:pt x="183" y="198"/>
                  </a:lnTo>
                  <a:lnTo>
                    <a:pt x="151" y="196"/>
                  </a:lnTo>
                  <a:lnTo>
                    <a:pt x="148" y="240"/>
                  </a:lnTo>
                  <a:lnTo>
                    <a:pt x="97" y="236"/>
                  </a:lnTo>
                  <a:lnTo>
                    <a:pt x="100" y="193"/>
                  </a:lnTo>
                  <a:lnTo>
                    <a:pt x="0" y="186"/>
                  </a:lnTo>
                  <a:lnTo>
                    <a:pt x="3" y="149"/>
                  </a:lnTo>
                  <a:lnTo>
                    <a:pt x="122" y="0"/>
                  </a:lnTo>
                  <a:lnTo>
                    <a:pt x="163" y="3"/>
                  </a:lnTo>
                  <a:lnTo>
                    <a:pt x="153" y="156"/>
                  </a:lnTo>
                  <a:lnTo>
                    <a:pt x="186" y="158"/>
                  </a:lnTo>
                  <a:close/>
                  <a:moveTo>
                    <a:pt x="51" y="150"/>
                  </a:moveTo>
                  <a:lnTo>
                    <a:pt x="102" y="153"/>
                  </a:lnTo>
                  <a:lnTo>
                    <a:pt x="107" y="79"/>
                  </a:lnTo>
                  <a:lnTo>
                    <a:pt x="51" y="150"/>
                  </a:ln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íşlîḓè">
              <a:extLst>
                <a:ext uri="{FF2B5EF4-FFF2-40B4-BE49-F238E27FC236}">
                  <a16:creationId xmlns:a16="http://schemas.microsoft.com/office/drawing/2014/main" id="{49198A69-41EF-4D9D-84E9-328E5B4FE1AC}"/>
                </a:ext>
              </a:extLst>
            </p:cNvPr>
            <p:cNvSpPr/>
            <p:nvPr/>
          </p:nvSpPr>
          <p:spPr bwMode="auto">
            <a:xfrm>
              <a:off x="6525713" y="2519656"/>
              <a:ext cx="275249" cy="344062"/>
            </a:xfrm>
            <a:custGeom>
              <a:avLst/>
              <a:gdLst>
                <a:gd name="T0" fmla="*/ 158 w 177"/>
                <a:gd name="T1" fmla="*/ 114 h 221"/>
                <a:gd name="T2" fmla="*/ 175 w 177"/>
                <a:gd name="T3" fmla="*/ 145 h 221"/>
                <a:gd name="T4" fmla="*/ 170 w 177"/>
                <a:gd name="T5" fmla="*/ 179 h 221"/>
                <a:gd name="T6" fmla="*/ 145 w 177"/>
                <a:gd name="T7" fmla="*/ 204 h 221"/>
                <a:gd name="T8" fmla="*/ 105 w 177"/>
                <a:gd name="T9" fmla="*/ 218 h 221"/>
                <a:gd name="T10" fmla="*/ 61 w 177"/>
                <a:gd name="T11" fmla="*/ 218 h 221"/>
                <a:gd name="T12" fmla="*/ 29 w 177"/>
                <a:gd name="T13" fmla="*/ 203 h 221"/>
                <a:gd name="T14" fmla="*/ 14 w 177"/>
                <a:gd name="T15" fmla="*/ 172 h 221"/>
                <a:gd name="T16" fmla="*/ 19 w 177"/>
                <a:gd name="T17" fmla="*/ 138 h 221"/>
                <a:gd name="T18" fmla="*/ 48 w 177"/>
                <a:gd name="T19" fmla="*/ 114 h 221"/>
                <a:gd name="T20" fmla="*/ 17 w 177"/>
                <a:gd name="T21" fmla="*/ 100 h 221"/>
                <a:gd name="T22" fmla="*/ 2 w 177"/>
                <a:gd name="T23" fmla="*/ 73 h 221"/>
                <a:gd name="T24" fmla="*/ 7 w 177"/>
                <a:gd name="T25" fmla="*/ 41 h 221"/>
                <a:gd name="T26" fmla="*/ 30 w 177"/>
                <a:gd name="T27" fmla="*/ 16 h 221"/>
                <a:gd name="T28" fmla="*/ 68 w 177"/>
                <a:gd name="T29" fmla="*/ 3 h 221"/>
                <a:gd name="T30" fmla="*/ 108 w 177"/>
                <a:gd name="T31" fmla="*/ 3 h 221"/>
                <a:gd name="T32" fmla="*/ 138 w 177"/>
                <a:gd name="T33" fmla="*/ 19 h 221"/>
                <a:gd name="T34" fmla="*/ 153 w 177"/>
                <a:gd name="T35" fmla="*/ 47 h 221"/>
                <a:gd name="T36" fmla="*/ 148 w 177"/>
                <a:gd name="T37" fmla="*/ 79 h 221"/>
                <a:gd name="T38" fmla="*/ 124 w 177"/>
                <a:gd name="T39" fmla="*/ 101 h 221"/>
                <a:gd name="T40" fmla="*/ 158 w 177"/>
                <a:gd name="T41" fmla="*/ 114 h 221"/>
                <a:gd name="T42" fmla="*/ 125 w 177"/>
                <a:gd name="T43" fmla="*/ 171 h 221"/>
                <a:gd name="T44" fmla="*/ 132 w 177"/>
                <a:gd name="T45" fmla="*/ 149 h 221"/>
                <a:gd name="T46" fmla="*/ 118 w 177"/>
                <a:gd name="T47" fmla="*/ 130 h 221"/>
                <a:gd name="T48" fmla="*/ 88 w 177"/>
                <a:gd name="T49" fmla="*/ 124 h 221"/>
                <a:gd name="T50" fmla="*/ 63 w 177"/>
                <a:gd name="T51" fmla="*/ 139 h 221"/>
                <a:gd name="T52" fmla="*/ 56 w 177"/>
                <a:gd name="T53" fmla="*/ 162 h 221"/>
                <a:gd name="T54" fmla="*/ 70 w 177"/>
                <a:gd name="T55" fmla="*/ 181 h 221"/>
                <a:gd name="T56" fmla="*/ 99 w 177"/>
                <a:gd name="T57" fmla="*/ 183 h 221"/>
                <a:gd name="T58" fmla="*/ 125 w 177"/>
                <a:gd name="T59" fmla="*/ 171 h 221"/>
                <a:gd name="T60" fmla="*/ 52 w 177"/>
                <a:gd name="T61" fmla="*/ 49 h 221"/>
                <a:gd name="T62" fmla="*/ 46 w 177"/>
                <a:gd name="T63" fmla="*/ 70 h 221"/>
                <a:gd name="T64" fmla="*/ 58 w 177"/>
                <a:gd name="T65" fmla="*/ 89 h 221"/>
                <a:gd name="T66" fmla="*/ 84 w 177"/>
                <a:gd name="T67" fmla="*/ 95 h 221"/>
                <a:gd name="T68" fmla="*/ 105 w 177"/>
                <a:gd name="T69" fmla="*/ 81 h 221"/>
                <a:gd name="T70" fmla="*/ 111 w 177"/>
                <a:gd name="T71" fmla="*/ 59 h 221"/>
                <a:gd name="T72" fmla="*/ 99 w 177"/>
                <a:gd name="T73" fmla="*/ 41 h 221"/>
                <a:gd name="T74" fmla="*/ 74 w 177"/>
                <a:gd name="T75" fmla="*/ 38 h 221"/>
                <a:gd name="T76" fmla="*/ 52 w 177"/>
                <a:gd name="T77" fmla="*/ 49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7" h="221">
                  <a:moveTo>
                    <a:pt x="158" y="114"/>
                  </a:moveTo>
                  <a:cubicBezTo>
                    <a:pt x="167" y="122"/>
                    <a:pt x="173" y="132"/>
                    <a:pt x="175" y="145"/>
                  </a:cubicBezTo>
                  <a:cubicBezTo>
                    <a:pt x="177" y="157"/>
                    <a:pt x="176" y="168"/>
                    <a:pt x="170" y="179"/>
                  </a:cubicBezTo>
                  <a:cubicBezTo>
                    <a:pt x="165" y="189"/>
                    <a:pt x="157" y="197"/>
                    <a:pt x="145" y="204"/>
                  </a:cubicBezTo>
                  <a:cubicBezTo>
                    <a:pt x="134" y="211"/>
                    <a:pt x="120" y="216"/>
                    <a:pt x="105" y="218"/>
                  </a:cubicBezTo>
                  <a:cubicBezTo>
                    <a:pt x="89" y="221"/>
                    <a:pt x="74" y="221"/>
                    <a:pt x="61" y="218"/>
                  </a:cubicBezTo>
                  <a:cubicBezTo>
                    <a:pt x="48" y="216"/>
                    <a:pt x="38" y="210"/>
                    <a:pt x="29" y="203"/>
                  </a:cubicBezTo>
                  <a:cubicBezTo>
                    <a:pt x="21" y="195"/>
                    <a:pt x="16" y="185"/>
                    <a:pt x="14" y="172"/>
                  </a:cubicBezTo>
                  <a:cubicBezTo>
                    <a:pt x="11" y="160"/>
                    <a:pt x="13" y="148"/>
                    <a:pt x="19" y="138"/>
                  </a:cubicBezTo>
                  <a:cubicBezTo>
                    <a:pt x="26" y="128"/>
                    <a:pt x="35" y="120"/>
                    <a:pt x="48" y="114"/>
                  </a:cubicBezTo>
                  <a:cubicBezTo>
                    <a:pt x="35" y="112"/>
                    <a:pt x="25" y="108"/>
                    <a:pt x="17" y="100"/>
                  </a:cubicBezTo>
                  <a:cubicBezTo>
                    <a:pt x="9" y="93"/>
                    <a:pt x="4" y="84"/>
                    <a:pt x="2" y="73"/>
                  </a:cubicBezTo>
                  <a:cubicBezTo>
                    <a:pt x="0" y="61"/>
                    <a:pt x="1" y="51"/>
                    <a:pt x="7" y="41"/>
                  </a:cubicBezTo>
                  <a:cubicBezTo>
                    <a:pt x="12" y="31"/>
                    <a:pt x="19" y="23"/>
                    <a:pt x="30" y="16"/>
                  </a:cubicBezTo>
                  <a:cubicBezTo>
                    <a:pt x="41" y="10"/>
                    <a:pt x="53" y="5"/>
                    <a:pt x="68" y="3"/>
                  </a:cubicBezTo>
                  <a:cubicBezTo>
                    <a:pt x="82" y="0"/>
                    <a:pt x="96" y="1"/>
                    <a:pt x="108" y="3"/>
                  </a:cubicBezTo>
                  <a:cubicBezTo>
                    <a:pt x="120" y="6"/>
                    <a:pt x="130" y="11"/>
                    <a:pt x="138" y="19"/>
                  </a:cubicBezTo>
                  <a:cubicBezTo>
                    <a:pt x="146" y="26"/>
                    <a:pt x="151" y="36"/>
                    <a:pt x="153" y="47"/>
                  </a:cubicBezTo>
                  <a:cubicBezTo>
                    <a:pt x="155" y="58"/>
                    <a:pt x="154" y="69"/>
                    <a:pt x="148" y="79"/>
                  </a:cubicBezTo>
                  <a:cubicBezTo>
                    <a:pt x="143" y="88"/>
                    <a:pt x="135" y="96"/>
                    <a:pt x="124" y="101"/>
                  </a:cubicBezTo>
                  <a:cubicBezTo>
                    <a:pt x="138" y="102"/>
                    <a:pt x="149" y="107"/>
                    <a:pt x="158" y="114"/>
                  </a:cubicBezTo>
                  <a:close/>
                  <a:moveTo>
                    <a:pt x="125" y="171"/>
                  </a:moveTo>
                  <a:cubicBezTo>
                    <a:pt x="131" y="165"/>
                    <a:pt x="133" y="158"/>
                    <a:pt x="132" y="149"/>
                  </a:cubicBezTo>
                  <a:cubicBezTo>
                    <a:pt x="130" y="140"/>
                    <a:pt x="126" y="134"/>
                    <a:pt x="118" y="130"/>
                  </a:cubicBezTo>
                  <a:cubicBezTo>
                    <a:pt x="110" y="126"/>
                    <a:pt x="100" y="124"/>
                    <a:pt x="88" y="124"/>
                  </a:cubicBezTo>
                  <a:cubicBezTo>
                    <a:pt x="77" y="128"/>
                    <a:pt x="69" y="133"/>
                    <a:pt x="63" y="139"/>
                  </a:cubicBezTo>
                  <a:cubicBezTo>
                    <a:pt x="57" y="146"/>
                    <a:pt x="54" y="153"/>
                    <a:pt x="56" y="162"/>
                  </a:cubicBezTo>
                  <a:cubicBezTo>
                    <a:pt x="57" y="171"/>
                    <a:pt x="62" y="177"/>
                    <a:pt x="70" y="181"/>
                  </a:cubicBezTo>
                  <a:cubicBezTo>
                    <a:pt x="77" y="184"/>
                    <a:pt x="87" y="185"/>
                    <a:pt x="99" y="183"/>
                  </a:cubicBezTo>
                  <a:cubicBezTo>
                    <a:pt x="110" y="181"/>
                    <a:pt x="119" y="177"/>
                    <a:pt x="125" y="171"/>
                  </a:cubicBezTo>
                  <a:close/>
                  <a:moveTo>
                    <a:pt x="52" y="49"/>
                  </a:moveTo>
                  <a:cubicBezTo>
                    <a:pt x="47" y="55"/>
                    <a:pt x="45" y="62"/>
                    <a:pt x="46" y="70"/>
                  </a:cubicBezTo>
                  <a:cubicBezTo>
                    <a:pt x="48" y="79"/>
                    <a:pt x="52" y="85"/>
                    <a:pt x="58" y="89"/>
                  </a:cubicBezTo>
                  <a:cubicBezTo>
                    <a:pt x="65" y="93"/>
                    <a:pt x="73" y="95"/>
                    <a:pt x="84" y="95"/>
                  </a:cubicBezTo>
                  <a:cubicBezTo>
                    <a:pt x="93" y="92"/>
                    <a:pt x="100" y="87"/>
                    <a:pt x="105" y="81"/>
                  </a:cubicBezTo>
                  <a:cubicBezTo>
                    <a:pt x="110" y="75"/>
                    <a:pt x="112" y="68"/>
                    <a:pt x="111" y="59"/>
                  </a:cubicBezTo>
                  <a:cubicBezTo>
                    <a:pt x="109" y="51"/>
                    <a:pt x="105" y="45"/>
                    <a:pt x="99" y="41"/>
                  </a:cubicBezTo>
                  <a:cubicBezTo>
                    <a:pt x="92" y="38"/>
                    <a:pt x="84" y="37"/>
                    <a:pt x="74" y="38"/>
                  </a:cubicBezTo>
                  <a:cubicBezTo>
                    <a:pt x="64" y="40"/>
                    <a:pt x="57" y="44"/>
                    <a:pt x="52" y="49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ï$líḑe">
              <a:extLst>
                <a:ext uri="{FF2B5EF4-FFF2-40B4-BE49-F238E27FC236}">
                  <a16:creationId xmlns:a16="http://schemas.microsoft.com/office/drawing/2014/main" id="{7B4D2954-47BF-4840-9B4A-FF204625A156}"/>
                </a:ext>
              </a:extLst>
            </p:cNvPr>
            <p:cNvSpPr/>
            <p:nvPr/>
          </p:nvSpPr>
          <p:spPr bwMode="auto">
            <a:xfrm>
              <a:off x="6312108" y="2863717"/>
              <a:ext cx="289586" cy="335460"/>
            </a:xfrm>
            <a:custGeom>
              <a:avLst/>
              <a:gdLst>
                <a:gd name="T0" fmla="*/ 177 w 186"/>
                <a:gd name="T1" fmla="*/ 146 h 216"/>
                <a:gd name="T2" fmla="*/ 186 w 186"/>
                <a:gd name="T3" fmla="*/ 180 h 216"/>
                <a:gd name="T4" fmla="*/ 54 w 186"/>
                <a:gd name="T5" fmla="*/ 216 h 216"/>
                <a:gd name="T6" fmla="*/ 46 w 186"/>
                <a:gd name="T7" fmla="*/ 185 h 216"/>
                <a:gd name="T8" fmla="*/ 91 w 186"/>
                <a:gd name="T9" fmla="*/ 99 h 216"/>
                <a:gd name="T10" fmla="*/ 100 w 186"/>
                <a:gd name="T11" fmla="*/ 55 h 216"/>
                <a:gd name="T12" fmla="*/ 89 w 186"/>
                <a:gd name="T13" fmla="*/ 39 h 216"/>
                <a:gd name="T14" fmla="*/ 68 w 186"/>
                <a:gd name="T15" fmla="*/ 39 h 216"/>
                <a:gd name="T16" fmla="*/ 22 w 186"/>
                <a:gd name="T17" fmla="*/ 72 h 216"/>
                <a:gd name="T18" fmla="*/ 0 w 186"/>
                <a:gd name="T19" fmla="*/ 45 h 216"/>
                <a:gd name="T20" fmla="*/ 25 w 186"/>
                <a:gd name="T21" fmla="*/ 21 h 216"/>
                <a:gd name="T22" fmla="*/ 60 w 186"/>
                <a:gd name="T23" fmla="*/ 5 h 216"/>
                <a:gd name="T24" fmla="*/ 112 w 186"/>
                <a:gd name="T25" fmla="*/ 6 h 216"/>
                <a:gd name="T26" fmla="*/ 140 w 186"/>
                <a:gd name="T27" fmla="*/ 40 h 216"/>
                <a:gd name="T28" fmla="*/ 142 w 186"/>
                <a:gd name="T29" fmla="*/ 73 h 216"/>
                <a:gd name="T30" fmla="*/ 128 w 186"/>
                <a:gd name="T31" fmla="*/ 111 h 216"/>
                <a:gd name="T32" fmla="*/ 97 w 186"/>
                <a:gd name="T33" fmla="*/ 168 h 216"/>
                <a:gd name="T34" fmla="*/ 177 w 186"/>
                <a:gd name="T35" fmla="*/ 14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6" h="216">
                  <a:moveTo>
                    <a:pt x="177" y="146"/>
                  </a:moveTo>
                  <a:cubicBezTo>
                    <a:pt x="186" y="180"/>
                    <a:pt x="186" y="180"/>
                    <a:pt x="186" y="180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46" y="185"/>
                    <a:pt x="46" y="185"/>
                    <a:pt x="46" y="185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100" y="81"/>
                    <a:pt x="103" y="66"/>
                    <a:pt x="100" y="55"/>
                  </a:cubicBezTo>
                  <a:cubicBezTo>
                    <a:pt x="98" y="47"/>
                    <a:pt x="94" y="42"/>
                    <a:pt x="89" y="39"/>
                  </a:cubicBezTo>
                  <a:cubicBezTo>
                    <a:pt x="83" y="37"/>
                    <a:pt x="76" y="36"/>
                    <a:pt x="68" y="39"/>
                  </a:cubicBezTo>
                  <a:cubicBezTo>
                    <a:pt x="51" y="43"/>
                    <a:pt x="36" y="54"/>
                    <a:pt x="22" y="72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6" y="36"/>
                    <a:pt x="14" y="28"/>
                    <a:pt x="25" y="21"/>
                  </a:cubicBezTo>
                  <a:cubicBezTo>
                    <a:pt x="36" y="14"/>
                    <a:pt x="48" y="8"/>
                    <a:pt x="60" y="5"/>
                  </a:cubicBezTo>
                  <a:cubicBezTo>
                    <a:pt x="80" y="0"/>
                    <a:pt x="98" y="0"/>
                    <a:pt x="112" y="6"/>
                  </a:cubicBezTo>
                  <a:cubicBezTo>
                    <a:pt x="126" y="13"/>
                    <a:pt x="136" y="24"/>
                    <a:pt x="140" y="40"/>
                  </a:cubicBezTo>
                  <a:cubicBezTo>
                    <a:pt x="144" y="51"/>
                    <a:pt x="144" y="62"/>
                    <a:pt x="142" y="73"/>
                  </a:cubicBezTo>
                  <a:cubicBezTo>
                    <a:pt x="140" y="84"/>
                    <a:pt x="135" y="96"/>
                    <a:pt x="128" y="111"/>
                  </a:cubicBezTo>
                  <a:cubicBezTo>
                    <a:pt x="97" y="168"/>
                    <a:pt x="97" y="168"/>
                    <a:pt x="97" y="168"/>
                  </a:cubicBezTo>
                  <a:lnTo>
                    <a:pt x="177" y="146"/>
                  </a:ln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" name="iṡḻîḍê">
              <a:extLst>
                <a:ext uri="{FF2B5EF4-FFF2-40B4-BE49-F238E27FC236}">
                  <a16:creationId xmlns:a16="http://schemas.microsoft.com/office/drawing/2014/main" id="{5861D1DE-64F3-4493-80B7-A33D6CBF621D}"/>
                </a:ext>
              </a:extLst>
            </p:cNvPr>
            <p:cNvSpPr/>
            <p:nvPr/>
          </p:nvSpPr>
          <p:spPr bwMode="auto">
            <a:xfrm>
              <a:off x="10725919" y="2529764"/>
              <a:ext cx="392804" cy="682389"/>
            </a:xfrm>
            <a:custGeom>
              <a:avLst/>
              <a:gdLst>
                <a:gd name="T0" fmla="*/ 247 w 253"/>
                <a:gd name="T1" fmla="*/ 162 h 439"/>
                <a:gd name="T2" fmla="*/ 229 w 253"/>
                <a:gd name="T3" fmla="*/ 206 h 439"/>
                <a:gd name="T4" fmla="*/ 200 w 253"/>
                <a:gd name="T5" fmla="*/ 236 h 439"/>
                <a:gd name="T6" fmla="*/ 162 w 253"/>
                <a:gd name="T7" fmla="*/ 251 h 439"/>
                <a:gd name="T8" fmla="*/ 119 w 253"/>
                <a:gd name="T9" fmla="*/ 253 h 439"/>
                <a:gd name="T10" fmla="*/ 102 w 253"/>
                <a:gd name="T11" fmla="*/ 312 h 439"/>
                <a:gd name="T12" fmla="*/ 91 w 253"/>
                <a:gd name="T13" fmla="*/ 318 h 439"/>
                <a:gd name="T14" fmla="*/ 66 w 253"/>
                <a:gd name="T15" fmla="*/ 315 h 439"/>
                <a:gd name="T16" fmla="*/ 49 w 253"/>
                <a:gd name="T17" fmla="*/ 310 h 439"/>
                <a:gd name="T18" fmla="*/ 38 w 253"/>
                <a:gd name="T19" fmla="*/ 305 h 439"/>
                <a:gd name="T20" fmla="*/ 33 w 253"/>
                <a:gd name="T21" fmla="*/ 301 h 439"/>
                <a:gd name="T22" fmla="*/ 32 w 253"/>
                <a:gd name="T23" fmla="*/ 294 h 439"/>
                <a:gd name="T24" fmla="*/ 48 w 253"/>
                <a:gd name="T25" fmla="*/ 221 h 439"/>
                <a:gd name="T26" fmla="*/ 53 w 253"/>
                <a:gd name="T27" fmla="*/ 205 h 439"/>
                <a:gd name="T28" fmla="*/ 60 w 253"/>
                <a:gd name="T29" fmla="*/ 197 h 439"/>
                <a:gd name="T30" fmla="*/ 69 w 253"/>
                <a:gd name="T31" fmla="*/ 194 h 439"/>
                <a:gd name="T32" fmla="*/ 81 w 253"/>
                <a:gd name="T33" fmla="*/ 195 h 439"/>
                <a:gd name="T34" fmla="*/ 85 w 253"/>
                <a:gd name="T35" fmla="*/ 196 h 439"/>
                <a:gd name="T36" fmla="*/ 115 w 253"/>
                <a:gd name="T37" fmla="*/ 198 h 439"/>
                <a:gd name="T38" fmla="*/ 138 w 253"/>
                <a:gd name="T39" fmla="*/ 189 h 439"/>
                <a:gd name="T40" fmla="*/ 154 w 253"/>
                <a:gd name="T41" fmla="*/ 172 h 439"/>
                <a:gd name="T42" fmla="*/ 164 w 253"/>
                <a:gd name="T43" fmla="*/ 148 h 439"/>
                <a:gd name="T44" fmla="*/ 167 w 253"/>
                <a:gd name="T45" fmla="*/ 120 h 439"/>
                <a:gd name="T46" fmla="*/ 159 w 253"/>
                <a:gd name="T47" fmla="*/ 95 h 439"/>
                <a:gd name="T48" fmla="*/ 142 w 253"/>
                <a:gd name="T49" fmla="*/ 76 h 439"/>
                <a:gd name="T50" fmla="*/ 113 w 253"/>
                <a:gd name="T51" fmla="*/ 64 h 439"/>
                <a:gd name="T52" fmla="*/ 84 w 253"/>
                <a:gd name="T53" fmla="*/ 60 h 439"/>
                <a:gd name="T54" fmla="*/ 62 w 253"/>
                <a:gd name="T55" fmla="*/ 62 h 439"/>
                <a:gd name="T56" fmla="*/ 46 w 253"/>
                <a:gd name="T57" fmla="*/ 65 h 439"/>
                <a:gd name="T58" fmla="*/ 37 w 253"/>
                <a:gd name="T59" fmla="*/ 66 h 439"/>
                <a:gd name="T60" fmla="*/ 33 w 253"/>
                <a:gd name="T61" fmla="*/ 63 h 439"/>
                <a:gd name="T62" fmla="*/ 31 w 253"/>
                <a:gd name="T63" fmla="*/ 58 h 439"/>
                <a:gd name="T64" fmla="*/ 32 w 253"/>
                <a:gd name="T65" fmla="*/ 47 h 439"/>
                <a:gd name="T66" fmla="*/ 35 w 253"/>
                <a:gd name="T67" fmla="*/ 29 h 439"/>
                <a:gd name="T68" fmla="*/ 40 w 253"/>
                <a:gd name="T69" fmla="*/ 14 h 439"/>
                <a:gd name="T70" fmla="*/ 46 w 253"/>
                <a:gd name="T71" fmla="*/ 7 h 439"/>
                <a:gd name="T72" fmla="*/ 60 w 253"/>
                <a:gd name="T73" fmla="*/ 2 h 439"/>
                <a:gd name="T74" fmla="*/ 82 w 253"/>
                <a:gd name="T75" fmla="*/ 0 h 439"/>
                <a:gd name="T76" fmla="*/ 110 w 253"/>
                <a:gd name="T77" fmla="*/ 1 h 439"/>
                <a:gd name="T78" fmla="*/ 142 w 253"/>
                <a:gd name="T79" fmla="*/ 6 h 439"/>
                <a:gd name="T80" fmla="*/ 201 w 253"/>
                <a:gd name="T81" fmla="*/ 32 h 439"/>
                <a:gd name="T82" fmla="*/ 237 w 253"/>
                <a:gd name="T83" fmla="*/ 69 h 439"/>
                <a:gd name="T84" fmla="*/ 251 w 253"/>
                <a:gd name="T85" fmla="*/ 114 h 439"/>
                <a:gd name="T86" fmla="*/ 247 w 253"/>
                <a:gd name="T87" fmla="*/ 162 h 439"/>
                <a:gd name="T88" fmla="*/ 90 w 253"/>
                <a:gd name="T89" fmla="*/ 402 h 439"/>
                <a:gd name="T90" fmla="*/ 83 w 253"/>
                <a:gd name="T91" fmla="*/ 423 h 439"/>
                <a:gd name="T92" fmla="*/ 72 w 253"/>
                <a:gd name="T93" fmla="*/ 435 h 439"/>
                <a:gd name="T94" fmla="*/ 57 w 253"/>
                <a:gd name="T95" fmla="*/ 439 h 439"/>
                <a:gd name="T96" fmla="*/ 36 w 253"/>
                <a:gd name="T97" fmla="*/ 436 h 439"/>
                <a:gd name="T98" fmla="*/ 15 w 253"/>
                <a:gd name="T99" fmla="*/ 429 h 439"/>
                <a:gd name="T100" fmla="*/ 4 w 253"/>
                <a:gd name="T101" fmla="*/ 418 h 439"/>
                <a:gd name="T102" fmla="*/ 0 w 253"/>
                <a:gd name="T103" fmla="*/ 402 h 439"/>
                <a:gd name="T104" fmla="*/ 3 w 253"/>
                <a:gd name="T105" fmla="*/ 381 h 439"/>
                <a:gd name="T106" fmla="*/ 11 w 253"/>
                <a:gd name="T107" fmla="*/ 359 h 439"/>
                <a:gd name="T108" fmla="*/ 21 w 253"/>
                <a:gd name="T109" fmla="*/ 347 h 439"/>
                <a:gd name="T110" fmla="*/ 37 w 253"/>
                <a:gd name="T111" fmla="*/ 343 h 439"/>
                <a:gd name="T112" fmla="*/ 58 w 253"/>
                <a:gd name="T113" fmla="*/ 346 h 439"/>
                <a:gd name="T114" fmla="*/ 79 w 253"/>
                <a:gd name="T115" fmla="*/ 353 h 439"/>
                <a:gd name="T116" fmla="*/ 90 w 253"/>
                <a:gd name="T117" fmla="*/ 364 h 439"/>
                <a:gd name="T118" fmla="*/ 94 w 253"/>
                <a:gd name="T119" fmla="*/ 380 h 439"/>
                <a:gd name="T120" fmla="*/ 90 w 253"/>
                <a:gd name="T121" fmla="*/ 402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3" h="439">
                  <a:moveTo>
                    <a:pt x="247" y="162"/>
                  </a:moveTo>
                  <a:cubicBezTo>
                    <a:pt x="243" y="179"/>
                    <a:pt x="237" y="193"/>
                    <a:pt x="229" y="206"/>
                  </a:cubicBezTo>
                  <a:cubicBezTo>
                    <a:pt x="221" y="218"/>
                    <a:pt x="211" y="228"/>
                    <a:pt x="200" y="236"/>
                  </a:cubicBezTo>
                  <a:cubicBezTo>
                    <a:pt x="188" y="243"/>
                    <a:pt x="176" y="248"/>
                    <a:pt x="162" y="251"/>
                  </a:cubicBezTo>
                  <a:cubicBezTo>
                    <a:pt x="149" y="254"/>
                    <a:pt x="134" y="255"/>
                    <a:pt x="119" y="253"/>
                  </a:cubicBezTo>
                  <a:cubicBezTo>
                    <a:pt x="102" y="312"/>
                    <a:pt x="102" y="312"/>
                    <a:pt x="102" y="312"/>
                  </a:cubicBezTo>
                  <a:cubicBezTo>
                    <a:pt x="100" y="315"/>
                    <a:pt x="97" y="317"/>
                    <a:pt x="91" y="318"/>
                  </a:cubicBezTo>
                  <a:cubicBezTo>
                    <a:pt x="85" y="318"/>
                    <a:pt x="76" y="317"/>
                    <a:pt x="66" y="315"/>
                  </a:cubicBezTo>
                  <a:cubicBezTo>
                    <a:pt x="59" y="313"/>
                    <a:pt x="53" y="311"/>
                    <a:pt x="49" y="310"/>
                  </a:cubicBezTo>
                  <a:cubicBezTo>
                    <a:pt x="44" y="308"/>
                    <a:pt x="41" y="307"/>
                    <a:pt x="38" y="305"/>
                  </a:cubicBezTo>
                  <a:cubicBezTo>
                    <a:pt x="36" y="304"/>
                    <a:pt x="34" y="302"/>
                    <a:pt x="33" y="301"/>
                  </a:cubicBezTo>
                  <a:cubicBezTo>
                    <a:pt x="32" y="299"/>
                    <a:pt x="32" y="297"/>
                    <a:pt x="32" y="294"/>
                  </a:cubicBezTo>
                  <a:cubicBezTo>
                    <a:pt x="48" y="221"/>
                    <a:pt x="48" y="221"/>
                    <a:pt x="48" y="221"/>
                  </a:cubicBezTo>
                  <a:cubicBezTo>
                    <a:pt x="49" y="215"/>
                    <a:pt x="51" y="209"/>
                    <a:pt x="53" y="205"/>
                  </a:cubicBezTo>
                  <a:cubicBezTo>
                    <a:pt x="55" y="202"/>
                    <a:pt x="57" y="199"/>
                    <a:pt x="60" y="197"/>
                  </a:cubicBezTo>
                  <a:cubicBezTo>
                    <a:pt x="63" y="195"/>
                    <a:pt x="66" y="194"/>
                    <a:pt x="69" y="194"/>
                  </a:cubicBezTo>
                  <a:cubicBezTo>
                    <a:pt x="73" y="194"/>
                    <a:pt x="77" y="194"/>
                    <a:pt x="81" y="195"/>
                  </a:cubicBezTo>
                  <a:cubicBezTo>
                    <a:pt x="85" y="196"/>
                    <a:pt x="85" y="196"/>
                    <a:pt x="85" y="196"/>
                  </a:cubicBezTo>
                  <a:cubicBezTo>
                    <a:pt x="96" y="199"/>
                    <a:pt x="106" y="200"/>
                    <a:pt x="115" y="198"/>
                  </a:cubicBezTo>
                  <a:cubicBezTo>
                    <a:pt x="124" y="197"/>
                    <a:pt x="131" y="194"/>
                    <a:pt x="138" y="189"/>
                  </a:cubicBezTo>
                  <a:cubicBezTo>
                    <a:pt x="144" y="185"/>
                    <a:pt x="150" y="179"/>
                    <a:pt x="154" y="172"/>
                  </a:cubicBezTo>
                  <a:cubicBezTo>
                    <a:pt x="159" y="165"/>
                    <a:pt x="162" y="157"/>
                    <a:pt x="164" y="148"/>
                  </a:cubicBezTo>
                  <a:cubicBezTo>
                    <a:pt x="166" y="138"/>
                    <a:pt x="167" y="129"/>
                    <a:pt x="167" y="120"/>
                  </a:cubicBezTo>
                  <a:cubicBezTo>
                    <a:pt x="166" y="111"/>
                    <a:pt x="164" y="103"/>
                    <a:pt x="159" y="95"/>
                  </a:cubicBezTo>
                  <a:cubicBezTo>
                    <a:pt x="155" y="88"/>
                    <a:pt x="149" y="82"/>
                    <a:pt x="142" y="76"/>
                  </a:cubicBezTo>
                  <a:cubicBezTo>
                    <a:pt x="134" y="71"/>
                    <a:pt x="124" y="67"/>
                    <a:pt x="113" y="64"/>
                  </a:cubicBezTo>
                  <a:cubicBezTo>
                    <a:pt x="102" y="61"/>
                    <a:pt x="93" y="60"/>
                    <a:pt x="84" y="60"/>
                  </a:cubicBezTo>
                  <a:cubicBezTo>
                    <a:pt x="76" y="60"/>
                    <a:pt x="68" y="61"/>
                    <a:pt x="62" y="62"/>
                  </a:cubicBezTo>
                  <a:cubicBezTo>
                    <a:pt x="56" y="63"/>
                    <a:pt x="50" y="64"/>
                    <a:pt x="46" y="65"/>
                  </a:cubicBezTo>
                  <a:cubicBezTo>
                    <a:pt x="42" y="66"/>
                    <a:pt x="39" y="66"/>
                    <a:pt x="37" y="66"/>
                  </a:cubicBezTo>
                  <a:cubicBezTo>
                    <a:pt x="35" y="65"/>
                    <a:pt x="34" y="65"/>
                    <a:pt x="33" y="63"/>
                  </a:cubicBezTo>
                  <a:cubicBezTo>
                    <a:pt x="32" y="62"/>
                    <a:pt x="31" y="60"/>
                    <a:pt x="31" y="58"/>
                  </a:cubicBezTo>
                  <a:cubicBezTo>
                    <a:pt x="31" y="55"/>
                    <a:pt x="31" y="51"/>
                    <a:pt x="32" y="47"/>
                  </a:cubicBezTo>
                  <a:cubicBezTo>
                    <a:pt x="32" y="42"/>
                    <a:pt x="34" y="36"/>
                    <a:pt x="35" y="29"/>
                  </a:cubicBezTo>
                  <a:cubicBezTo>
                    <a:pt x="37" y="22"/>
                    <a:pt x="39" y="17"/>
                    <a:pt x="40" y="14"/>
                  </a:cubicBezTo>
                  <a:cubicBezTo>
                    <a:pt x="42" y="11"/>
                    <a:pt x="44" y="8"/>
                    <a:pt x="46" y="7"/>
                  </a:cubicBezTo>
                  <a:cubicBezTo>
                    <a:pt x="49" y="5"/>
                    <a:pt x="53" y="4"/>
                    <a:pt x="60" y="2"/>
                  </a:cubicBezTo>
                  <a:cubicBezTo>
                    <a:pt x="66" y="1"/>
                    <a:pt x="74" y="0"/>
                    <a:pt x="82" y="0"/>
                  </a:cubicBezTo>
                  <a:cubicBezTo>
                    <a:pt x="91" y="0"/>
                    <a:pt x="100" y="0"/>
                    <a:pt x="110" y="1"/>
                  </a:cubicBezTo>
                  <a:cubicBezTo>
                    <a:pt x="121" y="2"/>
                    <a:pt x="131" y="3"/>
                    <a:pt x="142" y="6"/>
                  </a:cubicBezTo>
                  <a:cubicBezTo>
                    <a:pt x="166" y="12"/>
                    <a:pt x="186" y="21"/>
                    <a:pt x="201" y="32"/>
                  </a:cubicBezTo>
                  <a:cubicBezTo>
                    <a:pt x="217" y="43"/>
                    <a:pt x="229" y="55"/>
                    <a:pt x="237" y="69"/>
                  </a:cubicBezTo>
                  <a:cubicBezTo>
                    <a:pt x="245" y="83"/>
                    <a:pt x="250" y="98"/>
                    <a:pt x="251" y="114"/>
                  </a:cubicBezTo>
                  <a:cubicBezTo>
                    <a:pt x="253" y="130"/>
                    <a:pt x="251" y="146"/>
                    <a:pt x="247" y="162"/>
                  </a:cubicBezTo>
                  <a:close/>
                  <a:moveTo>
                    <a:pt x="90" y="402"/>
                  </a:moveTo>
                  <a:cubicBezTo>
                    <a:pt x="88" y="411"/>
                    <a:pt x="86" y="418"/>
                    <a:pt x="83" y="423"/>
                  </a:cubicBezTo>
                  <a:cubicBezTo>
                    <a:pt x="80" y="429"/>
                    <a:pt x="77" y="433"/>
                    <a:pt x="72" y="435"/>
                  </a:cubicBezTo>
                  <a:cubicBezTo>
                    <a:pt x="68" y="438"/>
                    <a:pt x="63" y="439"/>
                    <a:pt x="57" y="439"/>
                  </a:cubicBezTo>
                  <a:cubicBezTo>
                    <a:pt x="51" y="439"/>
                    <a:pt x="44" y="438"/>
                    <a:pt x="36" y="436"/>
                  </a:cubicBezTo>
                  <a:cubicBezTo>
                    <a:pt x="27" y="434"/>
                    <a:pt x="20" y="432"/>
                    <a:pt x="15" y="429"/>
                  </a:cubicBezTo>
                  <a:cubicBezTo>
                    <a:pt x="10" y="426"/>
                    <a:pt x="6" y="422"/>
                    <a:pt x="4" y="418"/>
                  </a:cubicBezTo>
                  <a:cubicBezTo>
                    <a:pt x="1" y="414"/>
                    <a:pt x="0" y="408"/>
                    <a:pt x="0" y="402"/>
                  </a:cubicBezTo>
                  <a:cubicBezTo>
                    <a:pt x="0" y="396"/>
                    <a:pt x="1" y="389"/>
                    <a:pt x="3" y="381"/>
                  </a:cubicBezTo>
                  <a:cubicBezTo>
                    <a:pt x="5" y="372"/>
                    <a:pt x="8" y="365"/>
                    <a:pt x="11" y="359"/>
                  </a:cubicBezTo>
                  <a:cubicBezTo>
                    <a:pt x="13" y="354"/>
                    <a:pt x="17" y="350"/>
                    <a:pt x="21" y="347"/>
                  </a:cubicBezTo>
                  <a:cubicBezTo>
                    <a:pt x="26" y="344"/>
                    <a:pt x="31" y="343"/>
                    <a:pt x="37" y="343"/>
                  </a:cubicBezTo>
                  <a:cubicBezTo>
                    <a:pt x="43" y="343"/>
                    <a:pt x="50" y="344"/>
                    <a:pt x="58" y="346"/>
                  </a:cubicBezTo>
                  <a:cubicBezTo>
                    <a:pt x="67" y="348"/>
                    <a:pt x="73" y="350"/>
                    <a:pt x="79" y="353"/>
                  </a:cubicBezTo>
                  <a:cubicBezTo>
                    <a:pt x="84" y="356"/>
                    <a:pt x="88" y="360"/>
                    <a:pt x="90" y="364"/>
                  </a:cubicBezTo>
                  <a:cubicBezTo>
                    <a:pt x="93" y="369"/>
                    <a:pt x="94" y="374"/>
                    <a:pt x="94" y="380"/>
                  </a:cubicBezTo>
                  <a:cubicBezTo>
                    <a:pt x="94" y="386"/>
                    <a:pt x="92" y="394"/>
                    <a:pt x="90" y="402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" name="iṩḷîḋê">
              <a:extLst>
                <a:ext uri="{FF2B5EF4-FFF2-40B4-BE49-F238E27FC236}">
                  <a16:creationId xmlns:a16="http://schemas.microsoft.com/office/drawing/2014/main" id="{EFB5C881-FA81-4048-BF3E-6B9BB65DFBAC}"/>
                </a:ext>
              </a:extLst>
            </p:cNvPr>
            <p:cNvSpPr txBox="1"/>
            <p:nvPr/>
          </p:nvSpPr>
          <p:spPr>
            <a:xfrm rot="21239338">
              <a:off x="8141298" y="2563810"/>
              <a:ext cx="146386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800" dirty="0">
                  <a:solidFill>
                    <a:schemeClr val="bg1"/>
                  </a:solidFill>
                </a:rPr>
                <a:t>Thanks!</a:t>
              </a:r>
              <a:endParaRPr lang="zh-CN" altLang="en-US" sz="2800" dirty="0">
                <a:solidFill>
                  <a:schemeClr val="bg1"/>
                </a:solidFill>
              </a:endParaRPr>
            </a:p>
          </p:txBody>
        </p:sp>
      </p:grp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025184"/>
            <a:ext cx="10845800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773937"/>
            <a:ext cx="10845800" cy="125124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ṩḻïḍe">
            <a:extLst>
              <a:ext uri="{FF2B5EF4-FFF2-40B4-BE49-F238E27FC236}">
                <a16:creationId xmlns:a16="http://schemas.microsoft.com/office/drawing/2014/main" id="{3D4D30CD-140C-4C98-9989-2E5DF15050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43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E162DA01-E473-4089-B279-483A6E7A879B}"/>
              </a:ext>
            </a:extLst>
          </p:cNvPr>
          <p:cNvGrpSpPr/>
          <p:nvPr userDrawn="1"/>
        </p:nvGrpSpPr>
        <p:grpSpPr>
          <a:xfrm>
            <a:off x="0" y="-1"/>
            <a:ext cx="12192000" cy="6858003"/>
            <a:chOff x="0" y="-1"/>
            <a:chExt cx="12192000" cy="6858003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749ADD4-3949-4842-AED5-1F0D204F12D5}"/>
                </a:ext>
              </a:extLst>
            </p:cNvPr>
            <p:cNvGrpSpPr/>
            <p:nvPr/>
          </p:nvGrpSpPr>
          <p:grpSpPr>
            <a:xfrm>
              <a:off x="0" y="736601"/>
              <a:ext cx="12192000" cy="5384799"/>
              <a:chOff x="0" y="622300"/>
              <a:chExt cx="12192000" cy="5384799"/>
            </a:xfrm>
          </p:grpSpPr>
          <p:cxnSp>
            <p:nvCxnSpPr>
              <p:cNvPr id="26" name="直接连接符 25">
                <a:extLst>
                  <a:ext uri="{FF2B5EF4-FFF2-40B4-BE49-F238E27FC236}">
                    <a16:creationId xmlns:a16="http://schemas.microsoft.com/office/drawing/2014/main" id="{30DB1C71-BDDA-4709-BEAD-18BB694E91CF}"/>
                  </a:ext>
                </a:extLst>
              </p:cNvPr>
              <p:cNvCxnSpPr/>
              <p:nvPr/>
            </p:nvCxnSpPr>
            <p:spPr>
              <a:xfrm>
                <a:off x="0" y="622300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>
                <a:extLst>
                  <a:ext uri="{FF2B5EF4-FFF2-40B4-BE49-F238E27FC236}">
                    <a16:creationId xmlns:a16="http://schemas.microsoft.com/office/drawing/2014/main" id="{1367A536-E31E-4183-BB5B-8FC1C09CFC5A}"/>
                  </a:ext>
                </a:extLst>
              </p:cNvPr>
              <p:cNvCxnSpPr/>
              <p:nvPr/>
            </p:nvCxnSpPr>
            <p:spPr>
              <a:xfrm>
                <a:off x="0" y="1391557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>
                <a:extLst>
                  <a:ext uri="{FF2B5EF4-FFF2-40B4-BE49-F238E27FC236}">
                    <a16:creationId xmlns:a16="http://schemas.microsoft.com/office/drawing/2014/main" id="{EA38AFFF-66E0-4F84-93DE-C9718517875A}"/>
                  </a:ext>
                </a:extLst>
              </p:cNvPr>
              <p:cNvCxnSpPr/>
              <p:nvPr/>
            </p:nvCxnSpPr>
            <p:spPr>
              <a:xfrm>
                <a:off x="0" y="2160814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>
                <a:extLst>
                  <a:ext uri="{FF2B5EF4-FFF2-40B4-BE49-F238E27FC236}">
                    <a16:creationId xmlns:a16="http://schemas.microsoft.com/office/drawing/2014/main" id="{3EDE3396-F723-4351-9B03-7BEA2EE13B02}"/>
                  </a:ext>
                </a:extLst>
              </p:cNvPr>
              <p:cNvCxnSpPr/>
              <p:nvPr/>
            </p:nvCxnSpPr>
            <p:spPr>
              <a:xfrm>
                <a:off x="0" y="2930071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>
                <a:extLst>
                  <a:ext uri="{FF2B5EF4-FFF2-40B4-BE49-F238E27FC236}">
                    <a16:creationId xmlns:a16="http://schemas.microsoft.com/office/drawing/2014/main" id="{7007BA67-DBC7-474F-9494-237907B4AF17}"/>
                  </a:ext>
                </a:extLst>
              </p:cNvPr>
              <p:cNvCxnSpPr/>
              <p:nvPr/>
            </p:nvCxnSpPr>
            <p:spPr>
              <a:xfrm>
                <a:off x="0" y="3699328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>
                <a:extLst>
                  <a:ext uri="{FF2B5EF4-FFF2-40B4-BE49-F238E27FC236}">
                    <a16:creationId xmlns:a16="http://schemas.microsoft.com/office/drawing/2014/main" id="{CB25220B-A997-4F4A-A8BB-56B478847311}"/>
                  </a:ext>
                </a:extLst>
              </p:cNvPr>
              <p:cNvCxnSpPr/>
              <p:nvPr/>
            </p:nvCxnSpPr>
            <p:spPr>
              <a:xfrm>
                <a:off x="0" y="4468585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>
                <a:extLst>
                  <a:ext uri="{FF2B5EF4-FFF2-40B4-BE49-F238E27FC236}">
                    <a16:creationId xmlns:a16="http://schemas.microsoft.com/office/drawing/2014/main" id="{321F79B8-89F6-48EE-A7D2-85BF89038291}"/>
                  </a:ext>
                </a:extLst>
              </p:cNvPr>
              <p:cNvCxnSpPr/>
              <p:nvPr/>
            </p:nvCxnSpPr>
            <p:spPr>
              <a:xfrm>
                <a:off x="0" y="5237842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>
                <a:extLst>
                  <a:ext uri="{FF2B5EF4-FFF2-40B4-BE49-F238E27FC236}">
                    <a16:creationId xmlns:a16="http://schemas.microsoft.com/office/drawing/2014/main" id="{A46AFB86-339B-4DB1-9198-E0B7DBCE67F5}"/>
                  </a:ext>
                </a:extLst>
              </p:cNvPr>
              <p:cNvCxnSpPr/>
              <p:nvPr/>
            </p:nvCxnSpPr>
            <p:spPr>
              <a:xfrm>
                <a:off x="0" y="6007099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A5E2749B-F182-4ED1-BE54-C976DB4A7050}"/>
                </a:ext>
              </a:extLst>
            </p:cNvPr>
            <p:cNvGrpSpPr/>
            <p:nvPr/>
          </p:nvGrpSpPr>
          <p:grpSpPr>
            <a:xfrm rot="5400000">
              <a:off x="509969" y="351972"/>
              <a:ext cx="6858001" cy="6154056"/>
              <a:chOff x="0" y="622300"/>
              <a:chExt cx="12192000" cy="6154056"/>
            </a:xfrm>
          </p:grpSpPr>
          <p:cxnSp>
            <p:nvCxnSpPr>
              <p:cNvPr id="15" name="直接连接符 14">
                <a:extLst>
                  <a:ext uri="{FF2B5EF4-FFF2-40B4-BE49-F238E27FC236}">
                    <a16:creationId xmlns:a16="http://schemas.microsoft.com/office/drawing/2014/main" id="{FF059511-ADAD-43C7-99B0-9B2632F57506}"/>
                  </a:ext>
                </a:extLst>
              </p:cNvPr>
              <p:cNvCxnSpPr/>
              <p:nvPr/>
            </p:nvCxnSpPr>
            <p:spPr>
              <a:xfrm>
                <a:off x="0" y="622300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>
                <a:extLst>
                  <a:ext uri="{FF2B5EF4-FFF2-40B4-BE49-F238E27FC236}">
                    <a16:creationId xmlns:a16="http://schemas.microsoft.com/office/drawing/2014/main" id="{7317536F-5366-4DE9-896A-2883EA2F34AC}"/>
                  </a:ext>
                </a:extLst>
              </p:cNvPr>
              <p:cNvCxnSpPr/>
              <p:nvPr/>
            </p:nvCxnSpPr>
            <p:spPr>
              <a:xfrm>
                <a:off x="0" y="1391557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>
                <a:extLst>
                  <a:ext uri="{FF2B5EF4-FFF2-40B4-BE49-F238E27FC236}">
                    <a16:creationId xmlns:a16="http://schemas.microsoft.com/office/drawing/2014/main" id="{80C2D191-33C4-42E8-B1A6-6760CEE0782A}"/>
                  </a:ext>
                </a:extLst>
              </p:cNvPr>
              <p:cNvCxnSpPr/>
              <p:nvPr/>
            </p:nvCxnSpPr>
            <p:spPr>
              <a:xfrm>
                <a:off x="0" y="2160814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>
                <a:extLst>
                  <a:ext uri="{FF2B5EF4-FFF2-40B4-BE49-F238E27FC236}">
                    <a16:creationId xmlns:a16="http://schemas.microsoft.com/office/drawing/2014/main" id="{4AA9BFA8-C51E-4BC1-B6C6-C8B2803C78D0}"/>
                  </a:ext>
                </a:extLst>
              </p:cNvPr>
              <p:cNvCxnSpPr/>
              <p:nvPr/>
            </p:nvCxnSpPr>
            <p:spPr>
              <a:xfrm>
                <a:off x="0" y="2930071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>
                <a:extLst>
                  <a:ext uri="{FF2B5EF4-FFF2-40B4-BE49-F238E27FC236}">
                    <a16:creationId xmlns:a16="http://schemas.microsoft.com/office/drawing/2014/main" id="{8FA0519E-FC8D-493E-B781-DBB5B38CD5A9}"/>
                  </a:ext>
                </a:extLst>
              </p:cNvPr>
              <p:cNvCxnSpPr/>
              <p:nvPr/>
            </p:nvCxnSpPr>
            <p:spPr>
              <a:xfrm>
                <a:off x="0" y="3699328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>
                <a:extLst>
                  <a:ext uri="{FF2B5EF4-FFF2-40B4-BE49-F238E27FC236}">
                    <a16:creationId xmlns:a16="http://schemas.microsoft.com/office/drawing/2014/main" id="{5081DFD5-12D1-4C8A-A3EC-E7CB4E5B5EFC}"/>
                  </a:ext>
                </a:extLst>
              </p:cNvPr>
              <p:cNvCxnSpPr/>
              <p:nvPr/>
            </p:nvCxnSpPr>
            <p:spPr>
              <a:xfrm>
                <a:off x="0" y="4468585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>
                <a:extLst>
                  <a:ext uri="{FF2B5EF4-FFF2-40B4-BE49-F238E27FC236}">
                    <a16:creationId xmlns:a16="http://schemas.microsoft.com/office/drawing/2014/main" id="{4089497B-91F7-45D0-88E7-9CC7DF2AEFAD}"/>
                  </a:ext>
                </a:extLst>
              </p:cNvPr>
              <p:cNvCxnSpPr/>
              <p:nvPr/>
            </p:nvCxnSpPr>
            <p:spPr>
              <a:xfrm>
                <a:off x="0" y="5237842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>
                <a:extLst>
                  <a:ext uri="{FF2B5EF4-FFF2-40B4-BE49-F238E27FC236}">
                    <a16:creationId xmlns:a16="http://schemas.microsoft.com/office/drawing/2014/main" id="{F9E4C39F-97D0-44E2-AC7E-6336D2A6CB12}"/>
                  </a:ext>
                </a:extLst>
              </p:cNvPr>
              <p:cNvCxnSpPr/>
              <p:nvPr/>
            </p:nvCxnSpPr>
            <p:spPr>
              <a:xfrm>
                <a:off x="0" y="6007099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>
                <a:extLst>
                  <a:ext uri="{FF2B5EF4-FFF2-40B4-BE49-F238E27FC236}">
                    <a16:creationId xmlns:a16="http://schemas.microsoft.com/office/drawing/2014/main" id="{3736D8DA-AC21-4D25-863D-C0B5C74674A6}"/>
                  </a:ext>
                </a:extLst>
              </p:cNvPr>
              <p:cNvCxnSpPr/>
              <p:nvPr/>
            </p:nvCxnSpPr>
            <p:spPr>
              <a:xfrm>
                <a:off x="0" y="6776356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6C5BC13B-C6E6-477A-9C81-83603359800D}"/>
                </a:ext>
              </a:extLst>
            </p:cNvPr>
            <p:cNvGrpSpPr/>
            <p:nvPr/>
          </p:nvGrpSpPr>
          <p:grpSpPr>
            <a:xfrm rot="5400000">
              <a:off x="6349903" y="1505859"/>
              <a:ext cx="6858001" cy="3846285"/>
              <a:chOff x="0" y="2930071"/>
              <a:chExt cx="12192000" cy="3846285"/>
            </a:xfrm>
          </p:grpSpPr>
          <p:cxnSp>
            <p:nvCxnSpPr>
              <p:cNvPr id="9" name="直接连接符 8">
                <a:extLst>
                  <a:ext uri="{FF2B5EF4-FFF2-40B4-BE49-F238E27FC236}">
                    <a16:creationId xmlns:a16="http://schemas.microsoft.com/office/drawing/2014/main" id="{3E15CF31-58B4-49E9-9E24-509BFCF3129A}"/>
                  </a:ext>
                </a:extLst>
              </p:cNvPr>
              <p:cNvCxnSpPr/>
              <p:nvPr/>
            </p:nvCxnSpPr>
            <p:spPr>
              <a:xfrm>
                <a:off x="0" y="2930071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直接连接符 9">
                <a:extLst>
                  <a:ext uri="{FF2B5EF4-FFF2-40B4-BE49-F238E27FC236}">
                    <a16:creationId xmlns:a16="http://schemas.microsoft.com/office/drawing/2014/main" id="{E37AE114-E020-4B9D-9AE3-4F4C83BD5B1E}"/>
                  </a:ext>
                </a:extLst>
              </p:cNvPr>
              <p:cNvCxnSpPr/>
              <p:nvPr/>
            </p:nvCxnSpPr>
            <p:spPr>
              <a:xfrm>
                <a:off x="0" y="3699328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直接连接符 10">
                <a:extLst>
                  <a:ext uri="{FF2B5EF4-FFF2-40B4-BE49-F238E27FC236}">
                    <a16:creationId xmlns:a16="http://schemas.microsoft.com/office/drawing/2014/main" id="{915033EE-CBF3-41E6-A854-CDF5911B3CD7}"/>
                  </a:ext>
                </a:extLst>
              </p:cNvPr>
              <p:cNvCxnSpPr/>
              <p:nvPr/>
            </p:nvCxnSpPr>
            <p:spPr>
              <a:xfrm>
                <a:off x="0" y="4468585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连接符 11">
                <a:extLst>
                  <a:ext uri="{FF2B5EF4-FFF2-40B4-BE49-F238E27FC236}">
                    <a16:creationId xmlns:a16="http://schemas.microsoft.com/office/drawing/2014/main" id="{83D2BBF8-F4E5-448B-8BFC-6F4C339F2333}"/>
                  </a:ext>
                </a:extLst>
              </p:cNvPr>
              <p:cNvCxnSpPr/>
              <p:nvPr/>
            </p:nvCxnSpPr>
            <p:spPr>
              <a:xfrm>
                <a:off x="0" y="5237842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>
                <a:extLst>
                  <a:ext uri="{FF2B5EF4-FFF2-40B4-BE49-F238E27FC236}">
                    <a16:creationId xmlns:a16="http://schemas.microsoft.com/office/drawing/2014/main" id="{1792EBAE-22AB-47EC-966F-7C3E9EB87A46}"/>
                  </a:ext>
                </a:extLst>
              </p:cNvPr>
              <p:cNvCxnSpPr/>
              <p:nvPr/>
            </p:nvCxnSpPr>
            <p:spPr>
              <a:xfrm>
                <a:off x="0" y="6007099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>
                <a:extLst>
                  <a:ext uri="{FF2B5EF4-FFF2-40B4-BE49-F238E27FC236}">
                    <a16:creationId xmlns:a16="http://schemas.microsoft.com/office/drawing/2014/main" id="{2FD0B619-4056-4312-8C5F-26ABF7BCDDFA}"/>
                  </a:ext>
                </a:extLst>
              </p:cNvPr>
              <p:cNvCxnSpPr/>
              <p:nvPr/>
            </p:nvCxnSpPr>
            <p:spPr>
              <a:xfrm>
                <a:off x="0" y="6776356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4" name="îŝľîḍe">
            <a:extLst>
              <a:ext uri="{FF2B5EF4-FFF2-40B4-BE49-F238E27FC236}">
                <a16:creationId xmlns:a16="http://schemas.microsoft.com/office/drawing/2014/main" id="{1F059F9F-4A72-44E7-84A6-13344B08F45E}"/>
              </a:ext>
            </a:extLst>
          </p:cNvPr>
          <p:cNvSpPr/>
          <p:nvPr userDrawn="1"/>
        </p:nvSpPr>
        <p:spPr>
          <a:xfrm>
            <a:off x="2797724" y="2909940"/>
            <a:ext cx="7683700" cy="1715206"/>
          </a:xfrm>
          <a:prstGeom prst="rect">
            <a:avLst/>
          </a:prstGeom>
          <a:solidFill>
            <a:srgbClr val="FFC000"/>
          </a:solidFill>
          <a:ln w="571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5" name="íṧľiḑé">
            <a:extLst>
              <a:ext uri="{FF2B5EF4-FFF2-40B4-BE49-F238E27FC236}">
                <a16:creationId xmlns:a16="http://schemas.microsoft.com/office/drawing/2014/main" id="{89D44DE6-8262-4906-A4F6-664FFF3352E9}"/>
              </a:ext>
            </a:extLst>
          </p:cNvPr>
          <p:cNvSpPr/>
          <p:nvPr userDrawn="1"/>
        </p:nvSpPr>
        <p:spPr>
          <a:xfrm>
            <a:off x="1635633" y="2278741"/>
            <a:ext cx="1813381" cy="1715206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3807529" y="291827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3808645" y="381362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10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10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ṣľîḋe">
            <a:extLst>
              <a:ext uri="{FF2B5EF4-FFF2-40B4-BE49-F238E27FC236}">
                <a16:creationId xmlns:a16="http://schemas.microsoft.com/office/drawing/2014/main" id="{6A634441-0463-4F41-B85F-12B81C5D0E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43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198281BC-FDD9-4A1B-9C41-7401C6F0C9B0}"/>
              </a:ext>
            </a:extLst>
          </p:cNvPr>
          <p:cNvGrpSpPr/>
          <p:nvPr userDrawn="1"/>
        </p:nvGrpSpPr>
        <p:grpSpPr>
          <a:xfrm>
            <a:off x="0" y="-1"/>
            <a:ext cx="12192000" cy="6858003"/>
            <a:chOff x="0" y="-1"/>
            <a:chExt cx="12192000" cy="6858003"/>
          </a:xfrm>
        </p:grpSpPr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C9A8D3C8-E126-4F00-AF5F-D64985DDB803}"/>
                </a:ext>
              </a:extLst>
            </p:cNvPr>
            <p:cNvGrpSpPr/>
            <p:nvPr/>
          </p:nvGrpSpPr>
          <p:grpSpPr>
            <a:xfrm>
              <a:off x="0" y="736601"/>
              <a:ext cx="12192000" cy="5384799"/>
              <a:chOff x="0" y="622300"/>
              <a:chExt cx="12192000" cy="5384799"/>
            </a:xfrm>
          </p:grpSpPr>
          <p:cxnSp>
            <p:nvCxnSpPr>
              <p:cNvPr id="28" name="直接连接符 27">
                <a:extLst>
                  <a:ext uri="{FF2B5EF4-FFF2-40B4-BE49-F238E27FC236}">
                    <a16:creationId xmlns:a16="http://schemas.microsoft.com/office/drawing/2014/main" id="{C5C49CF2-F690-4829-BE88-0C08F50B6709}"/>
                  </a:ext>
                </a:extLst>
              </p:cNvPr>
              <p:cNvCxnSpPr/>
              <p:nvPr/>
            </p:nvCxnSpPr>
            <p:spPr>
              <a:xfrm>
                <a:off x="0" y="622300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>
                <a:extLst>
                  <a:ext uri="{FF2B5EF4-FFF2-40B4-BE49-F238E27FC236}">
                    <a16:creationId xmlns:a16="http://schemas.microsoft.com/office/drawing/2014/main" id="{0F1D840F-3EE6-490F-9419-D3C20C0DD46A}"/>
                  </a:ext>
                </a:extLst>
              </p:cNvPr>
              <p:cNvCxnSpPr/>
              <p:nvPr/>
            </p:nvCxnSpPr>
            <p:spPr>
              <a:xfrm>
                <a:off x="0" y="1391557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>
                <a:extLst>
                  <a:ext uri="{FF2B5EF4-FFF2-40B4-BE49-F238E27FC236}">
                    <a16:creationId xmlns:a16="http://schemas.microsoft.com/office/drawing/2014/main" id="{636F8CA0-5D59-4133-A37A-4FAF4702DA8B}"/>
                  </a:ext>
                </a:extLst>
              </p:cNvPr>
              <p:cNvCxnSpPr/>
              <p:nvPr/>
            </p:nvCxnSpPr>
            <p:spPr>
              <a:xfrm>
                <a:off x="0" y="2160814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>
                <a:extLst>
                  <a:ext uri="{FF2B5EF4-FFF2-40B4-BE49-F238E27FC236}">
                    <a16:creationId xmlns:a16="http://schemas.microsoft.com/office/drawing/2014/main" id="{52301D24-6AEF-4F34-BBA7-194BCB3D811C}"/>
                  </a:ext>
                </a:extLst>
              </p:cNvPr>
              <p:cNvCxnSpPr/>
              <p:nvPr/>
            </p:nvCxnSpPr>
            <p:spPr>
              <a:xfrm>
                <a:off x="0" y="2930071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>
                <a:extLst>
                  <a:ext uri="{FF2B5EF4-FFF2-40B4-BE49-F238E27FC236}">
                    <a16:creationId xmlns:a16="http://schemas.microsoft.com/office/drawing/2014/main" id="{D542BC0F-1974-4563-B3F1-8F7072E0034F}"/>
                  </a:ext>
                </a:extLst>
              </p:cNvPr>
              <p:cNvCxnSpPr/>
              <p:nvPr/>
            </p:nvCxnSpPr>
            <p:spPr>
              <a:xfrm>
                <a:off x="0" y="3699328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>
                <a:extLst>
                  <a:ext uri="{FF2B5EF4-FFF2-40B4-BE49-F238E27FC236}">
                    <a16:creationId xmlns:a16="http://schemas.microsoft.com/office/drawing/2014/main" id="{783BB554-9882-4AC3-AC26-0FF4D4D8A180}"/>
                  </a:ext>
                </a:extLst>
              </p:cNvPr>
              <p:cNvCxnSpPr/>
              <p:nvPr/>
            </p:nvCxnSpPr>
            <p:spPr>
              <a:xfrm>
                <a:off x="0" y="4468585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接连接符 33">
                <a:extLst>
                  <a:ext uri="{FF2B5EF4-FFF2-40B4-BE49-F238E27FC236}">
                    <a16:creationId xmlns:a16="http://schemas.microsoft.com/office/drawing/2014/main" id="{FC862C30-8C83-4AF7-A4DA-37D6B0D7D522}"/>
                  </a:ext>
                </a:extLst>
              </p:cNvPr>
              <p:cNvCxnSpPr/>
              <p:nvPr/>
            </p:nvCxnSpPr>
            <p:spPr>
              <a:xfrm>
                <a:off x="0" y="5237842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直接连接符 34">
                <a:extLst>
                  <a:ext uri="{FF2B5EF4-FFF2-40B4-BE49-F238E27FC236}">
                    <a16:creationId xmlns:a16="http://schemas.microsoft.com/office/drawing/2014/main" id="{E183FDA7-602B-4588-ACCE-4B7489E3FDA2}"/>
                  </a:ext>
                </a:extLst>
              </p:cNvPr>
              <p:cNvCxnSpPr/>
              <p:nvPr/>
            </p:nvCxnSpPr>
            <p:spPr>
              <a:xfrm>
                <a:off x="0" y="6007099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7AAA8558-1D7B-4AE8-97AE-9FFBFC18BE5D}"/>
                </a:ext>
              </a:extLst>
            </p:cNvPr>
            <p:cNvGrpSpPr/>
            <p:nvPr/>
          </p:nvGrpSpPr>
          <p:grpSpPr>
            <a:xfrm rot="5400000">
              <a:off x="509969" y="351972"/>
              <a:ext cx="6858001" cy="6154056"/>
              <a:chOff x="0" y="622300"/>
              <a:chExt cx="12192000" cy="6154056"/>
            </a:xfrm>
          </p:grpSpPr>
          <p:cxnSp>
            <p:nvCxnSpPr>
              <p:cNvPr id="19" name="直接连接符 18">
                <a:extLst>
                  <a:ext uri="{FF2B5EF4-FFF2-40B4-BE49-F238E27FC236}">
                    <a16:creationId xmlns:a16="http://schemas.microsoft.com/office/drawing/2014/main" id="{8A4E81A2-40AE-4E7C-B634-6616A925389A}"/>
                  </a:ext>
                </a:extLst>
              </p:cNvPr>
              <p:cNvCxnSpPr/>
              <p:nvPr/>
            </p:nvCxnSpPr>
            <p:spPr>
              <a:xfrm>
                <a:off x="0" y="622300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>
                <a:extLst>
                  <a:ext uri="{FF2B5EF4-FFF2-40B4-BE49-F238E27FC236}">
                    <a16:creationId xmlns:a16="http://schemas.microsoft.com/office/drawing/2014/main" id="{F9E8285B-22D0-4ACB-9276-BF3A1180F206}"/>
                  </a:ext>
                </a:extLst>
              </p:cNvPr>
              <p:cNvCxnSpPr/>
              <p:nvPr/>
            </p:nvCxnSpPr>
            <p:spPr>
              <a:xfrm>
                <a:off x="0" y="1391557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>
                <a:extLst>
                  <a:ext uri="{FF2B5EF4-FFF2-40B4-BE49-F238E27FC236}">
                    <a16:creationId xmlns:a16="http://schemas.microsoft.com/office/drawing/2014/main" id="{CCA3274E-BA26-4E0C-9372-B3EABC486B39}"/>
                  </a:ext>
                </a:extLst>
              </p:cNvPr>
              <p:cNvCxnSpPr/>
              <p:nvPr/>
            </p:nvCxnSpPr>
            <p:spPr>
              <a:xfrm>
                <a:off x="0" y="2160814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>
                <a:extLst>
                  <a:ext uri="{FF2B5EF4-FFF2-40B4-BE49-F238E27FC236}">
                    <a16:creationId xmlns:a16="http://schemas.microsoft.com/office/drawing/2014/main" id="{B4F75AE6-F0BC-4320-829B-57DE2F24B8CD}"/>
                  </a:ext>
                </a:extLst>
              </p:cNvPr>
              <p:cNvCxnSpPr/>
              <p:nvPr/>
            </p:nvCxnSpPr>
            <p:spPr>
              <a:xfrm>
                <a:off x="0" y="2930071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>
                <a:extLst>
                  <a:ext uri="{FF2B5EF4-FFF2-40B4-BE49-F238E27FC236}">
                    <a16:creationId xmlns:a16="http://schemas.microsoft.com/office/drawing/2014/main" id="{4BE4B1F8-2E60-4F77-87FC-2153D6438F9C}"/>
                  </a:ext>
                </a:extLst>
              </p:cNvPr>
              <p:cNvCxnSpPr/>
              <p:nvPr/>
            </p:nvCxnSpPr>
            <p:spPr>
              <a:xfrm>
                <a:off x="0" y="3699328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>
                <a:extLst>
                  <a:ext uri="{FF2B5EF4-FFF2-40B4-BE49-F238E27FC236}">
                    <a16:creationId xmlns:a16="http://schemas.microsoft.com/office/drawing/2014/main" id="{E98F34F4-1D85-4C1F-A91E-428C732411E2}"/>
                  </a:ext>
                </a:extLst>
              </p:cNvPr>
              <p:cNvCxnSpPr/>
              <p:nvPr/>
            </p:nvCxnSpPr>
            <p:spPr>
              <a:xfrm>
                <a:off x="0" y="4468585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>
                <a:extLst>
                  <a:ext uri="{FF2B5EF4-FFF2-40B4-BE49-F238E27FC236}">
                    <a16:creationId xmlns:a16="http://schemas.microsoft.com/office/drawing/2014/main" id="{555A3A3F-C5C2-4CC4-A824-BF96241AE72D}"/>
                  </a:ext>
                </a:extLst>
              </p:cNvPr>
              <p:cNvCxnSpPr/>
              <p:nvPr/>
            </p:nvCxnSpPr>
            <p:spPr>
              <a:xfrm>
                <a:off x="0" y="5237842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>
                <a:extLst>
                  <a:ext uri="{FF2B5EF4-FFF2-40B4-BE49-F238E27FC236}">
                    <a16:creationId xmlns:a16="http://schemas.microsoft.com/office/drawing/2014/main" id="{0FDC1DEE-BA90-4685-9305-29ADF97D26CD}"/>
                  </a:ext>
                </a:extLst>
              </p:cNvPr>
              <p:cNvCxnSpPr/>
              <p:nvPr/>
            </p:nvCxnSpPr>
            <p:spPr>
              <a:xfrm>
                <a:off x="0" y="6007099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>
                <a:extLst>
                  <a:ext uri="{FF2B5EF4-FFF2-40B4-BE49-F238E27FC236}">
                    <a16:creationId xmlns:a16="http://schemas.microsoft.com/office/drawing/2014/main" id="{D7EAD127-7F10-4C35-9FA0-2B7F29E31D00}"/>
                  </a:ext>
                </a:extLst>
              </p:cNvPr>
              <p:cNvCxnSpPr/>
              <p:nvPr/>
            </p:nvCxnSpPr>
            <p:spPr>
              <a:xfrm>
                <a:off x="0" y="6776356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82FD7A70-18C4-41B3-BFEE-71ADE9878714}"/>
                </a:ext>
              </a:extLst>
            </p:cNvPr>
            <p:cNvGrpSpPr/>
            <p:nvPr/>
          </p:nvGrpSpPr>
          <p:grpSpPr>
            <a:xfrm rot="5400000">
              <a:off x="6349903" y="1505859"/>
              <a:ext cx="6858001" cy="3846285"/>
              <a:chOff x="0" y="2930071"/>
              <a:chExt cx="12192000" cy="3846285"/>
            </a:xfrm>
          </p:grpSpPr>
          <p:cxnSp>
            <p:nvCxnSpPr>
              <p:cNvPr id="11" name="直接连接符 10">
                <a:extLst>
                  <a:ext uri="{FF2B5EF4-FFF2-40B4-BE49-F238E27FC236}">
                    <a16:creationId xmlns:a16="http://schemas.microsoft.com/office/drawing/2014/main" id="{DDFB9C6B-71C8-4217-AAD1-F9B92C3140ED}"/>
                  </a:ext>
                </a:extLst>
              </p:cNvPr>
              <p:cNvCxnSpPr/>
              <p:nvPr/>
            </p:nvCxnSpPr>
            <p:spPr>
              <a:xfrm>
                <a:off x="0" y="2930071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连接符 11">
                <a:extLst>
                  <a:ext uri="{FF2B5EF4-FFF2-40B4-BE49-F238E27FC236}">
                    <a16:creationId xmlns:a16="http://schemas.microsoft.com/office/drawing/2014/main" id="{968C567F-9CF0-4F84-8899-505DF081BAD5}"/>
                  </a:ext>
                </a:extLst>
              </p:cNvPr>
              <p:cNvCxnSpPr/>
              <p:nvPr/>
            </p:nvCxnSpPr>
            <p:spPr>
              <a:xfrm>
                <a:off x="0" y="3699328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>
                <a:extLst>
                  <a:ext uri="{FF2B5EF4-FFF2-40B4-BE49-F238E27FC236}">
                    <a16:creationId xmlns:a16="http://schemas.microsoft.com/office/drawing/2014/main" id="{B685609B-0D77-402F-9046-B466F4620081}"/>
                  </a:ext>
                </a:extLst>
              </p:cNvPr>
              <p:cNvCxnSpPr/>
              <p:nvPr/>
            </p:nvCxnSpPr>
            <p:spPr>
              <a:xfrm>
                <a:off x="0" y="4468585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>
                <a:extLst>
                  <a:ext uri="{FF2B5EF4-FFF2-40B4-BE49-F238E27FC236}">
                    <a16:creationId xmlns:a16="http://schemas.microsoft.com/office/drawing/2014/main" id="{04FC35C2-DD0C-4B8F-907C-3ABB200C669A}"/>
                  </a:ext>
                </a:extLst>
              </p:cNvPr>
              <p:cNvCxnSpPr/>
              <p:nvPr/>
            </p:nvCxnSpPr>
            <p:spPr>
              <a:xfrm>
                <a:off x="0" y="5237842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>
                <a:extLst>
                  <a:ext uri="{FF2B5EF4-FFF2-40B4-BE49-F238E27FC236}">
                    <a16:creationId xmlns:a16="http://schemas.microsoft.com/office/drawing/2014/main" id="{851F29B8-EBCA-4967-BB50-9DE6C22307DB}"/>
                  </a:ext>
                </a:extLst>
              </p:cNvPr>
              <p:cNvCxnSpPr/>
              <p:nvPr/>
            </p:nvCxnSpPr>
            <p:spPr>
              <a:xfrm>
                <a:off x="0" y="6007099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>
                <a:extLst>
                  <a:ext uri="{FF2B5EF4-FFF2-40B4-BE49-F238E27FC236}">
                    <a16:creationId xmlns:a16="http://schemas.microsoft.com/office/drawing/2014/main" id="{42ACCABD-4ADC-442C-82E7-5245E534EE75}"/>
                  </a:ext>
                </a:extLst>
              </p:cNvPr>
              <p:cNvCxnSpPr/>
              <p:nvPr/>
            </p:nvCxnSpPr>
            <p:spPr>
              <a:xfrm>
                <a:off x="0" y="6776356"/>
                <a:ext cx="12192000" cy="0"/>
              </a:xfrm>
              <a:prstGeom prst="line">
                <a:avLst/>
              </a:prstGeom>
              <a:ln w="22225">
                <a:solidFill>
                  <a:schemeClr val="accent1">
                    <a:lumMod val="60000"/>
                    <a:lumOff val="40000"/>
                    <a:alpha val="36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3002873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30910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012838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3435C31F-8115-478C-9285-3CCABCAA9E65}"/>
              </a:ext>
            </a:extLst>
          </p:cNvPr>
          <p:cNvGrpSpPr/>
          <p:nvPr userDrawn="1"/>
        </p:nvGrpSpPr>
        <p:grpSpPr>
          <a:xfrm>
            <a:off x="3405739" y="1228157"/>
            <a:ext cx="5536528" cy="3784679"/>
            <a:chOff x="5800316" y="2069508"/>
            <a:chExt cx="5536528" cy="3784679"/>
          </a:xfrm>
        </p:grpSpPr>
        <p:sp>
          <p:nvSpPr>
            <p:cNvPr id="37" name="îśḷîḋe">
              <a:extLst>
                <a:ext uri="{FF2B5EF4-FFF2-40B4-BE49-F238E27FC236}">
                  <a16:creationId xmlns:a16="http://schemas.microsoft.com/office/drawing/2014/main" id="{380D9564-E43C-4AAA-9C6E-F3DAB09E52BA}"/>
                </a:ext>
              </a:extLst>
            </p:cNvPr>
            <p:cNvSpPr/>
            <p:nvPr/>
          </p:nvSpPr>
          <p:spPr bwMode="auto">
            <a:xfrm>
              <a:off x="7557898" y="2069508"/>
              <a:ext cx="2620604" cy="1727477"/>
            </a:xfrm>
            <a:prstGeom prst="rect">
              <a:avLst/>
            </a:prstGeom>
            <a:solidFill>
              <a:srgbClr val="5D66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î$ḷíḋe">
              <a:extLst>
                <a:ext uri="{FF2B5EF4-FFF2-40B4-BE49-F238E27FC236}">
                  <a16:creationId xmlns:a16="http://schemas.microsoft.com/office/drawing/2014/main" id="{C3A3857E-A30E-4257-993D-22863A246EAC}"/>
                </a:ext>
              </a:extLst>
            </p:cNvPr>
            <p:cNvSpPr/>
            <p:nvPr/>
          </p:nvSpPr>
          <p:spPr bwMode="auto">
            <a:xfrm>
              <a:off x="7494820" y="3778348"/>
              <a:ext cx="2746760" cy="114687"/>
            </a:xfrm>
            <a:prstGeom prst="rect">
              <a:avLst/>
            </a:prstGeom>
            <a:solidFill>
              <a:srgbClr val="3B33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îṩḻïḍé">
              <a:extLst>
                <a:ext uri="{FF2B5EF4-FFF2-40B4-BE49-F238E27FC236}">
                  <a16:creationId xmlns:a16="http://schemas.microsoft.com/office/drawing/2014/main" id="{DA1EF79F-533D-4E87-AC74-64D91CDBA0C8}"/>
                </a:ext>
              </a:extLst>
            </p:cNvPr>
            <p:cNvSpPr/>
            <p:nvPr/>
          </p:nvSpPr>
          <p:spPr bwMode="auto">
            <a:xfrm>
              <a:off x="7696957" y="5306556"/>
              <a:ext cx="113254" cy="127590"/>
            </a:xfrm>
            <a:custGeom>
              <a:avLst/>
              <a:gdLst>
                <a:gd name="T0" fmla="*/ 3 w 79"/>
                <a:gd name="T1" fmla="*/ 27 h 89"/>
                <a:gd name="T2" fmla="*/ 0 w 79"/>
                <a:gd name="T3" fmla="*/ 55 h 89"/>
                <a:gd name="T4" fmla="*/ 50 w 79"/>
                <a:gd name="T5" fmla="*/ 89 h 89"/>
                <a:gd name="T6" fmla="*/ 79 w 79"/>
                <a:gd name="T7" fmla="*/ 65 h 89"/>
                <a:gd name="T8" fmla="*/ 55 w 79"/>
                <a:gd name="T9" fmla="*/ 35 h 89"/>
                <a:gd name="T10" fmla="*/ 5 w 79"/>
                <a:gd name="T11" fmla="*/ 0 h 89"/>
                <a:gd name="T12" fmla="*/ 3 w 79"/>
                <a:gd name="T13" fmla="*/ 2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89">
                  <a:moveTo>
                    <a:pt x="3" y="27"/>
                  </a:moveTo>
                  <a:lnTo>
                    <a:pt x="0" y="55"/>
                  </a:lnTo>
                  <a:lnTo>
                    <a:pt x="50" y="89"/>
                  </a:lnTo>
                  <a:lnTo>
                    <a:pt x="79" y="65"/>
                  </a:lnTo>
                  <a:lnTo>
                    <a:pt x="55" y="35"/>
                  </a:lnTo>
                  <a:lnTo>
                    <a:pt x="5" y="0"/>
                  </a:lnTo>
                  <a:lnTo>
                    <a:pt x="3" y="27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ïşļïḍé">
              <a:extLst>
                <a:ext uri="{FF2B5EF4-FFF2-40B4-BE49-F238E27FC236}">
                  <a16:creationId xmlns:a16="http://schemas.microsoft.com/office/drawing/2014/main" id="{3850D08C-9ADA-4357-AB08-6E9568999086}"/>
                </a:ext>
              </a:extLst>
            </p:cNvPr>
            <p:cNvSpPr/>
            <p:nvPr/>
          </p:nvSpPr>
          <p:spPr bwMode="auto">
            <a:xfrm>
              <a:off x="7691222" y="4131011"/>
              <a:ext cx="303921" cy="1227153"/>
            </a:xfrm>
            <a:custGeom>
              <a:avLst/>
              <a:gdLst>
                <a:gd name="T0" fmla="*/ 8 w 212"/>
                <a:gd name="T1" fmla="*/ 10 h 856"/>
                <a:gd name="T2" fmla="*/ 0 w 212"/>
                <a:gd name="T3" fmla="*/ 92 h 856"/>
                <a:gd name="T4" fmla="*/ 75 w 212"/>
                <a:gd name="T5" fmla="*/ 379 h 856"/>
                <a:gd name="T6" fmla="*/ 5 w 212"/>
                <a:gd name="T7" fmla="*/ 839 h 856"/>
                <a:gd name="T8" fmla="*/ 56 w 212"/>
                <a:gd name="T9" fmla="*/ 856 h 856"/>
                <a:gd name="T10" fmla="*/ 191 w 212"/>
                <a:gd name="T11" fmla="*/ 407 h 856"/>
                <a:gd name="T12" fmla="*/ 212 w 212"/>
                <a:gd name="T13" fmla="*/ 276 h 856"/>
                <a:gd name="T14" fmla="*/ 211 w 212"/>
                <a:gd name="T15" fmla="*/ 0 h 856"/>
                <a:gd name="T16" fmla="*/ 8 w 212"/>
                <a:gd name="T17" fmla="*/ 10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856">
                  <a:moveTo>
                    <a:pt x="8" y="10"/>
                  </a:moveTo>
                  <a:lnTo>
                    <a:pt x="0" y="92"/>
                  </a:lnTo>
                  <a:lnTo>
                    <a:pt x="75" y="379"/>
                  </a:lnTo>
                  <a:lnTo>
                    <a:pt x="5" y="839"/>
                  </a:lnTo>
                  <a:lnTo>
                    <a:pt x="56" y="856"/>
                  </a:lnTo>
                  <a:lnTo>
                    <a:pt x="191" y="407"/>
                  </a:lnTo>
                  <a:lnTo>
                    <a:pt x="212" y="276"/>
                  </a:lnTo>
                  <a:lnTo>
                    <a:pt x="211" y="0"/>
                  </a:lnTo>
                  <a:lnTo>
                    <a:pt x="8" y="1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îṧḷíḍe">
              <a:extLst>
                <a:ext uri="{FF2B5EF4-FFF2-40B4-BE49-F238E27FC236}">
                  <a16:creationId xmlns:a16="http://schemas.microsoft.com/office/drawing/2014/main" id="{159E04D8-8602-4CC9-BD95-06BD3E0BAE0A}"/>
                </a:ext>
              </a:extLst>
            </p:cNvPr>
            <p:cNvSpPr/>
            <p:nvPr/>
          </p:nvSpPr>
          <p:spPr bwMode="auto">
            <a:xfrm>
              <a:off x="7901960" y="4176887"/>
              <a:ext cx="364132" cy="1204216"/>
            </a:xfrm>
            <a:custGeom>
              <a:avLst/>
              <a:gdLst>
                <a:gd name="T0" fmla="*/ 254 w 254"/>
                <a:gd name="T1" fmla="*/ 70 h 840"/>
                <a:gd name="T2" fmla="*/ 147 w 254"/>
                <a:gd name="T3" fmla="*/ 840 h 840"/>
                <a:gd name="T4" fmla="*/ 98 w 254"/>
                <a:gd name="T5" fmla="*/ 840 h 840"/>
                <a:gd name="T6" fmla="*/ 89 w 254"/>
                <a:gd name="T7" fmla="*/ 347 h 840"/>
                <a:gd name="T8" fmla="*/ 0 w 254"/>
                <a:gd name="T9" fmla="*/ 0 h 840"/>
                <a:gd name="T10" fmla="*/ 254 w 254"/>
                <a:gd name="T11" fmla="*/ 70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4" h="840">
                  <a:moveTo>
                    <a:pt x="254" y="70"/>
                  </a:moveTo>
                  <a:lnTo>
                    <a:pt x="147" y="840"/>
                  </a:lnTo>
                  <a:lnTo>
                    <a:pt x="98" y="840"/>
                  </a:lnTo>
                  <a:lnTo>
                    <a:pt x="89" y="347"/>
                  </a:lnTo>
                  <a:lnTo>
                    <a:pt x="0" y="0"/>
                  </a:lnTo>
                  <a:lnTo>
                    <a:pt x="254" y="7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$1iḑè">
              <a:extLst>
                <a:ext uri="{FF2B5EF4-FFF2-40B4-BE49-F238E27FC236}">
                  <a16:creationId xmlns:a16="http://schemas.microsoft.com/office/drawing/2014/main" id="{DD29BA19-1529-45CC-B255-98A652B39316}"/>
                </a:ext>
              </a:extLst>
            </p:cNvPr>
            <p:cNvSpPr/>
            <p:nvPr/>
          </p:nvSpPr>
          <p:spPr bwMode="auto">
            <a:xfrm>
              <a:off x="8042452" y="5373934"/>
              <a:ext cx="114687" cy="78848"/>
            </a:xfrm>
            <a:custGeom>
              <a:avLst/>
              <a:gdLst>
                <a:gd name="T0" fmla="*/ 53 w 80"/>
                <a:gd name="T1" fmla="*/ 0 h 55"/>
                <a:gd name="T2" fmla="*/ 80 w 80"/>
                <a:gd name="T3" fmla="*/ 27 h 55"/>
                <a:gd name="T4" fmla="*/ 53 w 80"/>
                <a:gd name="T5" fmla="*/ 55 h 55"/>
                <a:gd name="T6" fmla="*/ 0 w 80"/>
                <a:gd name="T7" fmla="*/ 27 h 55"/>
                <a:gd name="T8" fmla="*/ 0 w 80"/>
                <a:gd name="T9" fmla="*/ 0 h 55"/>
                <a:gd name="T10" fmla="*/ 53 w 80"/>
                <a:gd name="T1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55">
                  <a:moveTo>
                    <a:pt x="53" y="0"/>
                  </a:moveTo>
                  <a:lnTo>
                    <a:pt x="80" y="27"/>
                  </a:lnTo>
                  <a:lnTo>
                    <a:pt x="53" y="55"/>
                  </a:lnTo>
                  <a:lnTo>
                    <a:pt x="0" y="27"/>
                  </a:lnTo>
                  <a:lnTo>
                    <a:pt x="0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íṡ1ïďe">
              <a:extLst>
                <a:ext uri="{FF2B5EF4-FFF2-40B4-BE49-F238E27FC236}">
                  <a16:creationId xmlns:a16="http://schemas.microsoft.com/office/drawing/2014/main" id="{F88C57F2-8419-41F8-8FB8-C789D0AF294E}"/>
                </a:ext>
              </a:extLst>
            </p:cNvPr>
            <p:cNvSpPr/>
            <p:nvPr/>
          </p:nvSpPr>
          <p:spPr bwMode="auto">
            <a:xfrm>
              <a:off x="7441778" y="3371208"/>
              <a:ext cx="963373" cy="1304567"/>
            </a:xfrm>
            <a:custGeom>
              <a:avLst/>
              <a:gdLst>
                <a:gd name="T0" fmla="*/ 417 w 619"/>
                <a:gd name="T1" fmla="*/ 29 h 840"/>
                <a:gd name="T2" fmla="*/ 249 w 619"/>
                <a:gd name="T3" fmla="*/ 17 h 840"/>
                <a:gd name="T4" fmla="*/ 199 w 619"/>
                <a:gd name="T5" fmla="*/ 314 h 840"/>
                <a:gd name="T6" fmla="*/ 126 w 619"/>
                <a:gd name="T7" fmla="*/ 565 h 840"/>
                <a:gd name="T8" fmla="*/ 20 w 619"/>
                <a:gd name="T9" fmla="*/ 745 h 840"/>
                <a:gd name="T10" fmla="*/ 2 w 619"/>
                <a:gd name="T11" fmla="*/ 776 h 840"/>
                <a:gd name="T12" fmla="*/ 16 w 619"/>
                <a:gd name="T13" fmla="*/ 792 h 840"/>
                <a:gd name="T14" fmla="*/ 228 w 619"/>
                <a:gd name="T15" fmla="*/ 839 h 840"/>
                <a:gd name="T16" fmla="*/ 395 w 619"/>
                <a:gd name="T17" fmla="*/ 839 h 840"/>
                <a:gd name="T18" fmla="*/ 610 w 619"/>
                <a:gd name="T19" fmla="*/ 788 h 840"/>
                <a:gd name="T20" fmla="*/ 619 w 619"/>
                <a:gd name="T21" fmla="*/ 777 h 840"/>
                <a:gd name="T22" fmla="*/ 614 w 619"/>
                <a:gd name="T23" fmla="*/ 766 h 840"/>
                <a:gd name="T24" fmla="*/ 567 w 619"/>
                <a:gd name="T25" fmla="*/ 538 h 840"/>
                <a:gd name="T26" fmla="*/ 529 w 619"/>
                <a:gd name="T27" fmla="*/ 302 h 840"/>
                <a:gd name="T28" fmla="*/ 481 w 619"/>
                <a:gd name="T29" fmla="*/ 156 h 840"/>
                <a:gd name="T30" fmla="*/ 420 w 619"/>
                <a:gd name="T31" fmla="*/ 32 h 840"/>
                <a:gd name="T32" fmla="*/ 417 w 619"/>
                <a:gd name="T33" fmla="*/ 29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9" h="840">
                  <a:moveTo>
                    <a:pt x="417" y="29"/>
                  </a:moveTo>
                  <a:cubicBezTo>
                    <a:pt x="381" y="0"/>
                    <a:pt x="295" y="17"/>
                    <a:pt x="249" y="17"/>
                  </a:cubicBezTo>
                  <a:cubicBezTo>
                    <a:pt x="240" y="117"/>
                    <a:pt x="221" y="216"/>
                    <a:pt x="199" y="314"/>
                  </a:cubicBezTo>
                  <a:cubicBezTo>
                    <a:pt x="180" y="398"/>
                    <a:pt x="143" y="481"/>
                    <a:pt x="126" y="565"/>
                  </a:cubicBezTo>
                  <a:cubicBezTo>
                    <a:pt x="112" y="640"/>
                    <a:pt x="80" y="694"/>
                    <a:pt x="20" y="745"/>
                  </a:cubicBezTo>
                  <a:cubicBezTo>
                    <a:pt x="10" y="753"/>
                    <a:pt x="0" y="764"/>
                    <a:pt x="2" y="776"/>
                  </a:cubicBezTo>
                  <a:cubicBezTo>
                    <a:pt x="4" y="783"/>
                    <a:pt x="10" y="788"/>
                    <a:pt x="16" y="792"/>
                  </a:cubicBezTo>
                  <a:cubicBezTo>
                    <a:pt x="77" y="834"/>
                    <a:pt x="155" y="838"/>
                    <a:pt x="228" y="839"/>
                  </a:cubicBezTo>
                  <a:cubicBezTo>
                    <a:pt x="284" y="840"/>
                    <a:pt x="339" y="840"/>
                    <a:pt x="395" y="839"/>
                  </a:cubicBezTo>
                  <a:cubicBezTo>
                    <a:pt x="468" y="838"/>
                    <a:pt x="548" y="829"/>
                    <a:pt x="610" y="788"/>
                  </a:cubicBezTo>
                  <a:cubicBezTo>
                    <a:pt x="614" y="785"/>
                    <a:pt x="618" y="781"/>
                    <a:pt x="619" y="777"/>
                  </a:cubicBezTo>
                  <a:cubicBezTo>
                    <a:pt x="619" y="773"/>
                    <a:pt x="616" y="769"/>
                    <a:pt x="614" y="766"/>
                  </a:cubicBezTo>
                  <a:cubicBezTo>
                    <a:pt x="571" y="706"/>
                    <a:pt x="576" y="607"/>
                    <a:pt x="567" y="538"/>
                  </a:cubicBezTo>
                  <a:cubicBezTo>
                    <a:pt x="558" y="459"/>
                    <a:pt x="548" y="380"/>
                    <a:pt x="529" y="302"/>
                  </a:cubicBezTo>
                  <a:cubicBezTo>
                    <a:pt x="517" y="252"/>
                    <a:pt x="501" y="203"/>
                    <a:pt x="481" y="156"/>
                  </a:cubicBezTo>
                  <a:cubicBezTo>
                    <a:pt x="466" y="119"/>
                    <a:pt x="448" y="60"/>
                    <a:pt x="420" y="32"/>
                  </a:cubicBezTo>
                  <a:cubicBezTo>
                    <a:pt x="419" y="31"/>
                    <a:pt x="418" y="30"/>
                    <a:pt x="417" y="29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iŝ1îďê">
              <a:extLst>
                <a:ext uri="{FF2B5EF4-FFF2-40B4-BE49-F238E27FC236}">
                  <a16:creationId xmlns:a16="http://schemas.microsoft.com/office/drawing/2014/main" id="{D77F138C-0D0B-4445-8B77-978053BD1D91}"/>
                </a:ext>
              </a:extLst>
            </p:cNvPr>
            <p:cNvSpPr/>
            <p:nvPr/>
          </p:nvSpPr>
          <p:spPr bwMode="auto">
            <a:xfrm>
              <a:off x="7922030" y="3128931"/>
              <a:ext cx="124723" cy="163429"/>
            </a:xfrm>
            <a:custGeom>
              <a:avLst/>
              <a:gdLst>
                <a:gd name="T0" fmla="*/ 2 w 80"/>
                <a:gd name="T1" fmla="*/ 49 h 105"/>
                <a:gd name="T2" fmla="*/ 33 w 80"/>
                <a:gd name="T3" fmla="*/ 0 h 105"/>
                <a:gd name="T4" fmla="*/ 74 w 80"/>
                <a:gd name="T5" fmla="*/ 45 h 105"/>
                <a:gd name="T6" fmla="*/ 61 w 80"/>
                <a:gd name="T7" fmla="*/ 105 h 105"/>
                <a:gd name="T8" fmla="*/ 0 w 80"/>
                <a:gd name="T9" fmla="*/ 49 h 105"/>
                <a:gd name="T10" fmla="*/ 2 w 80"/>
                <a:gd name="T11" fmla="*/ 4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105">
                  <a:moveTo>
                    <a:pt x="2" y="49"/>
                  </a:moveTo>
                  <a:cubicBezTo>
                    <a:pt x="5" y="29"/>
                    <a:pt x="17" y="11"/>
                    <a:pt x="33" y="0"/>
                  </a:cubicBezTo>
                  <a:cubicBezTo>
                    <a:pt x="53" y="7"/>
                    <a:pt x="69" y="25"/>
                    <a:pt x="74" y="45"/>
                  </a:cubicBezTo>
                  <a:cubicBezTo>
                    <a:pt x="80" y="66"/>
                    <a:pt x="75" y="89"/>
                    <a:pt x="61" y="105"/>
                  </a:cubicBezTo>
                  <a:cubicBezTo>
                    <a:pt x="54" y="77"/>
                    <a:pt x="29" y="53"/>
                    <a:pt x="0" y="49"/>
                  </a:cubicBezTo>
                  <a:lnTo>
                    <a:pt x="2" y="49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" name="iṡ1ïďè">
              <a:extLst>
                <a:ext uri="{FF2B5EF4-FFF2-40B4-BE49-F238E27FC236}">
                  <a16:creationId xmlns:a16="http://schemas.microsoft.com/office/drawing/2014/main" id="{1C3F016F-B921-4A28-A4D8-CD45EB18B069}"/>
                </a:ext>
              </a:extLst>
            </p:cNvPr>
            <p:cNvSpPr/>
            <p:nvPr/>
          </p:nvSpPr>
          <p:spPr bwMode="auto">
            <a:xfrm>
              <a:off x="7780105" y="3116030"/>
              <a:ext cx="260914" cy="361265"/>
            </a:xfrm>
            <a:custGeom>
              <a:avLst/>
              <a:gdLst>
                <a:gd name="T0" fmla="*/ 125 w 168"/>
                <a:gd name="T1" fmla="*/ 202 h 232"/>
                <a:gd name="T2" fmla="*/ 164 w 168"/>
                <a:gd name="T3" fmla="*/ 146 h 232"/>
                <a:gd name="T4" fmla="*/ 156 w 168"/>
                <a:gd name="T5" fmla="*/ 76 h 232"/>
                <a:gd name="T6" fmla="*/ 18 w 168"/>
                <a:gd name="T7" fmla="*/ 91 h 232"/>
                <a:gd name="T8" fmla="*/ 125 w 168"/>
                <a:gd name="T9" fmla="*/ 20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232">
                  <a:moveTo>
                    <a:pt x="125" y="202"/>
                  </a:moveTo>
                  <a:cubicBezTo>
                    <a:pt x="147" y="192"/>
                    <a:pt x="160" y="169"/>
                    <a:pt x="164" y="146"/>
                  </a:cubicBezTo>
                  <a:cubicBezTo>
                    <a:pt x="168" y="122"/>
                    <a:pt x="164" y="98"/>
                    <a:pt x="156" y="76"/>
                  </a:cubicBezTo>
                  <a:cubicBezTo>
                    <a:pt x="132" y="0"/>
                    <a:pt x="38" y="25"/>
                    <a:pt x="18" y="91"/>
                  </a:cubicBezTo>
                  <a:cubicBezTo>
                    <a:pt x="0" y="149"/>
                    <a:pt x="63" y="232"/>
                    <a:pt x="125" y="202"/>
                  </a:cubicBez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" name="îṧḻidè">
              <a:extLst>
                <a:ext uri="{FF2B5EF4-FFF2-40B4-BE49-F238E27FC236}">
                  <a16:creationId xmlns:a16="http://schemas.microsoft.com/office/drawing/2014/main" id="{AAFFA14D-228C-44B0-8660-22A2D954159D}"/>
                </a:ext>
              </a:extLst>
            </p:cNvPr>
            <p:cNvSpPr/>
            <p:nvPr/>
          </p:nvSpPr>
          <p:spPr bwMode="auto">
            <a:xfrm>
              <a:off x="7612375" y="3094525"/>
              <a:ext cx="457316" cy="1211384"/>
            </a:xfrm>
            <a:custGeom>
              <a:avLst/>
              <a:gdLst>
                <a:gd name="T0" fmla="*/ 206 w 294"/>
                <a:gd name="T1" fmla="*/ 743 h 780"/>
                <a:gd name="T2" fmla="*/ 222 w 294"/>
                <a:gd name="T3" fmla="*/ 695 h 780"/>
                <a:gd name="T4" fmla="*/ 258 w 294"/>
                <a:gd name="T5" fmla="*/ 674 h 780"/>
                <a:gd name="T6" fmla="*/ 294 w 294"/>
                <a:gd name="T7" fmla="*/ 611 h 780"/>
                <a:gd name="T8" fmla="*/ 274 w 294"/>
                <a:gd name="T9" fmla="*/ 538 h 780"/>
                <a:gd name="T10" fmla="*/ 197 w 294"/>
                <a:gd name="T11" fmla="*/ 280 h 780"/>
                <a:gd name="T12" fmla="*/ 206 w 294"/>
                <a:gd name="T13" fmla="*/ 186 h 780"/>
                <a:gd name="T14" fmla="*/ 218 w 294"/>
                <a:gd name="T15" fmla="*/ 102 h 780"/>
                <a:gd name="T16" fmla="*/ 236 w 294"/>
                <a:gd name="T17" fmla="*/ 50 h 780"/>
                <a:gd name="T18" fmla="*/ 222 w 294"/>
                <a:gd name="T19" fmla="*/ 18 h 780"/>
                <a:gd name="T20" fmla="*/ 174 w 294"/>
                <a:gd name="T21" fmla="*/ 2 h 780"/>
                <a:gd name="T22" fmla="*/ 57 w 294"/>
                <a:gd name="T23" fmla="*/ 116 h 780"/>
                <a:gd name="T24" fmla="*/ 72 w 294"/>
                <a:gd name="T25" fmla="*/ 280 h 780"/>
                <a:gd name="T26" fmla="*/ 42 w 294"/>
                <a:gd name="T27" fmla="*/ 533 h 780"/>
                <a:gd name="T28" fmla="*/ 4 w 294"/>
                <a:gd name="T29" fmla="*/ 627 h 780"/>
                <a:gd name="T30" fmla="*/ 47 w 294"/>
                <a:gd name="T31" fmla="*/ 712 h 780"/>
                <a:gd name="T32" fmla="*/ 85 w 294"/>
                <a:gd name="T33" fmla="*/ 724 h 780"/>
                <a:gd name="T34" fmla="*/ 91 w 294"/>
                <a:gd name="T35" fmla="*/ 757 h 780"/>
                <a:gd name="T36" fmla="*/ 138 w 294"/>
                <a:gd name="T37" fmla="*/ 753 h 780"/>
                <a:gd name="T38" fmla="*/ 206 w 294"/>
                <a:gd name="T39" fmla="*/ 743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780">
                  <a:moveTo>
                    <a:pt x="206" y="743"/>
                  </a:moveTo>
                  <a:cubicBezTo>
                    <a:pt x="220" y="732"/>
                    <a:pt x="218" y="712"/>
                    <a:pt x="222" y="695"/>
                  </a:cubicBezTo>
                  <a:cubicBezTo>
                    <a:pt x="225" y="678"/>
                    <a:pt x="246" y="661"/>
                    <a:pt x="258" y="674"/>
                  </a:cubicBezTo>
                  <a:cubicBezTo>
                    <a:pt x="281" y="665"/>
                    <a:pt x="294" y="637"/>
                    <a:pt x="294" y="611"/>
                  </a:cubicBezTo>
                  <a:cubicBezTo>
                    <a:pt x="294" y="586"/>
                    <a:pt x="283" y="561"/>
                    <a:pt x="274" y="538"/>
                  </a:cubicBezTo>
                  <a:cubicBezTo>
                    <a:pt x="238" y="453"/>
                    <a:pt x="197" y="373"/>
                    <a:pt x="197" y="280"/>
                  </a:cubicBezTo>
                  <a:cubicBezTo>
                    <a:pt x="197" y="248"/>
                    <a:pt x="201" y="217"/>
                    <a:pt x="206" y="186"/>
                  </a:cubicBezTo>
                  <a:cubicBezTo>
                    <a:pt x="210" y="158"/>
                    <a:pt x="213" y="130"/>
                    <a:pt x="218" y="102"/>
                  </a:cubicBezTo>
                  <a:cubicBezTo>
                    <a:pt x="221" y="84"/>
                    <a:pt x="234" y="68"/>
                    <a:pt x="236" y="50"/>
                  </a:cubicBezTo>
                  <a:cubicBezTo>
                    <a:pt x="237" y="38"/>
                    <a:pt x="230" y="26"/>
                    <a:pt x="222" y="18"/>
                  </a:cubicBezTo>
                  <a:cubicBezTo>
                    <a:pt x="208" y="5"/>
                    <a:pt x="193" y="0"/>
                    <a:pt x="174" y="2"/>
                  </a:cubicBezTo>
                  <a:cubicBezTo>
                    <a:pt x="110" y="8"/>
                    <a:pt x="67" y="52"/>
                    <a:pt x="57" y="116"/>
                  </a:cubicBezTo>
                  <a:cubicBezTo>
                    <a:pt x="48" y="171"/>
                    <a:pt x="62" y="226"/>
                    <a:pt x="72" y="280"/>
                  </a:cubicBezTo>
                  <a:cubicBezTo>
                    <a:pt x="87" y="362"/>
                    <a:pt x="82" y="459"/>
                    <a:pt x="42" y="533"/>
                  </a:cubicBezTo>
                  <a:cubicBezTo>
                    <a:pt x="26" y="563"/>
                    <a:pt x="8" y="593"/>
                    <a:pt x="4" y="627"/>
                  </a:cubicBezTo>
                  <a:cubicBezTo>
                    <a:pt x="0" y="661"/>
                    <a:pt x="15" y="700"/>
                    <a:pt x="47" y="712"/>
                  </a:cubicBezTo>
                  <a:cubicBezTo>
                    <a:pt x="60" y="717"/>
                    <a:pt x="74" y="717"/>
                    <a:pt x="85" y="724"/>
                  </a:cubicBezTo>
                  <a:cubicBezTo>
                    <a:pt x="97" y="731"/>
                    <a:pt x="100" y="746"/>
                    <a:pt x="91" y="757"/>
                  </a:cubicBezTo>
                  <a:cubicBezTo>
                    <a:pt x="108" y="780"/>
                    <a:pt x="121" y="760"/>
                    <a:pt x="138" y="753"/>
                  </a:cubicBezTo>
                  <a:cubicBezTo>
                    <a:pt x="159" y="745"/>
                    <a:pt x="188" y="756"/>
                    <a:pt x="206" y="74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iśḷíḍe">
              <a:extLst>
                <a:ext uri="{FF2B5EF4-FFF2-40B4-BE49-F238E27FC236}">
                  <a16:creationId xmlns:a16="http://schemas.microsoft.com/office/drawing/2014/main" id="{BB76052E-7EA6-4D68-A65C-375486FA45C6}"/>
                </a:ext>
              </a:extLst>
            </p:cNvPr>
            <p:cNvSpPr/>
            <p:nvPr/>
          </p:nvSpPr>
          <p:spPr bwMode="auto">
            <a:xfrm>
              <a:off x="8002311" y="3193443"/>
              <a:ext cx="594940" cy="392803"/>
            </a:xfrm>
            <a:custGeom>
              <a:avLst/>
              <a:gdLst>
                <a:gd name="T0" fmla="*/ 0 w 415"/>
                <a:gd name="T1" fmla="*/ 152 h 274"/>
                <a:gd name="T2" fmla="*/ 237 w 415"/>
                <a:gd name="T3" fmla="*/ 135 h 274"/>
                <a:gd name="T4" fmla="*/ 357 w 415"/>
                <a:gd name="T5" fmla="*/ 0 h 274"/>
                <a:gd name="T6" fmla="*/ 415 w 415"/>
                <a:gd name="T7" fmla="*/ 36 h 274"/>
                <a:gd name="T8" fmla="*/ 285 w 415"/>
                <a:gd name="T9" fmla="*/ 219 h 274"/>
                <a:gd name="T10" fmla="*/ 29 w 415"/>
                <a:gd name="T11" fmla="*/ 274 h 274"/>
                <a:gd name="T12" fmla="*/ 0 w 415"/>
                <a:gd name="T13" fmla="*/ 15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5" h="274">
                  <a:moveTo>
                    <a:pt x="0" y="152"/>
                  </a:moveTo>
                  <a:lnTo>
                    <a:pt x="237" y="135"/>
                  </a:lnTo>
                  <a:lnTo>
                    <a:pt x="357" y="0"/>
                  </a:lnTo>
                  <a:lnTo>
                    <a:pt x="415" y="36"/>
                  </a:lnTo>
                  <a:lnTo>
                    <a:pt x="285" y="219"/>
                  </a:lnTo>
                  <a:lnTo>
                    <a:pt x="29" y="27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iṣḻîḍe">
              <a:extLst>
                <a:ext uri="{FF2B5EF4-FFF2-40B4-BE49-F238E27FC236}">
                  <a16:creationId xmlns:a16="http://schemas.microsoft.com/office/drawing/2014/main" id="{DE5F29B7-1FF5-45B6-8163-E8534833A39B}"/>
                </a:ext>
              </a:extLst>
            </p:cNvPr>
            <p:cNvSpPr/>
            <p:nvPr/>
          </p:nvSpPr>
          <p:spPr bwMode="auto">
            <a:xfrm>
              <a:off x="8534174" y="3128931"/>
              <a:ext cx="110387" cy="107519"/>
            </a:xfrm>
            <a:custGeom>
              <a:avLst/>
              <a:gdLst>
                <a:gd name="T0" fmla="*/ 0 w 77"/>
                <a:gd name="T1" fmla="*/ 54 h 75"/>
                <a:gd name="T2" fmla="*/ 12 w 77"/>
                <a:gd name="T3" fmla="*/ 12 h 75"/>
                <a:gd name="T4" fmla="*/ 27 w 77"/>
                <a:gd name="T5" fmla="*/ 12 h 75"/>
                <a:gd name="T6" fmla="*/ 32 w 77"/>
                <a:gd name="T7" fmla="*/ 0 h 75"/>
                <a:gd name="T8" fmla="*/ 55 w 77"/>
                <a:gd name="T9" fmla="*/ 0 h 75"/>
                <a:gd name="T10" fmla="*/ 77 w 77"/>
                <a:gd name="T11" fmla="*/ 31 h 75"/>
                <a:gd name="T12" fmla="*/ 35 w 77"/>
                <a:gd name="T13" fmla="*/ 75 h 75"/>
                <a:gd name="T14" fmla="*/ 0 w 77"/>
                <a:gd name="T15" fmla="*/ 5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75">
                  <a:moveTo>
                    <a:pt x="0" y="54"/>
                  </a:moveTo>
                  <a:lnTo>
                    <a:pt x="12" y="12"/>
                  </a:lnTo>
                  <a:lnTo>
                    <a:pt x="27" y="12"/>
                  </a:lnTo>
                  <a:lnTo>
                    <a:pt x="32" y="0"/>
                  </a:lnTo>
                  <a:lnTo>
                    <a:pt x="55" y="0"/>
                  </a:lnTo>
                  <a:lnTo>
                    <a:pt x="77" y="31"/>
                  </a:lnTo>
                  <a:lnTo>
                    <a:pt x="35" y="75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íş1íḓé">
              <a:extLst>
                <a:ext uri="{FF2B5EF4-FFF2-40B4-BE49-F238E27FC236}">
                  <a16:creationId xmlns:a16="http://schemas.microsoft.com/office/drawing/2014/main" id="{108A16D5-BB38-4CF6-8AFD-5E34D046BD54}"/>
                </a:ext>
              </a:extLst>
            </p:cNvPr>
            <p:cNvSpPr/>
            <p:nvPr/>
          </p:nvSpPr>
          <p:spPr bwMode="auto">
            <a:xfrm>
              <a:off x="8534174" y="3038616"/>
              <a:ext cx="55911" cy="107519"/>
            </a:xfrm>
            <a:custGeom>
              <a:avLst/>
              <a:gdLst>
                <a:gd name="T0" fmla="*/ 12 w 39"/>
                <a:gd name="T1" fmla="*/ 75 h 75"/>
                <a:gd name="T2" fmla="*/ 0 w 39"/>
                <a:gd name="T3" fmla="*/ 9 h 75"/>
                <a:gd name="T4" fmla="*/ 22 w 39"/>
                <a:gd name="T5" fmla="*/ 0 h 75"/>
                <a:gd name="T6" fmla="*/ 39 w 39"/>
                <a:gd name="T7" fmla="*/ 75 h 75"/>
                <a:gd name="T8" fmla="*/ 12 w 39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75">
                  <a:moveTo>
                    <a:pt x="12" y="75"/>
                  </a:moveTo>
                  <a:lnTo>
                    <a:pt x="0" y="9"/>
                  </a:lnTo>
                  <a:lnTo>
                    <a:pt x="22" y="0"/>
                  </a:lnTo>
                  <a:lnTo>
                    <a:pt x="39" y="75"/>
                  </a:lnTo>
                  <a:lnTo>
                    <a:pt x="12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îšḻiḋe">
              <a:extLst>
                <a:ext uri="{FF2B5EF4-FFF2-40B4-BE49-F238E27FC236}">
                  <a16:creationId xmlns:a16="http://schemas.microsoft.com/office/drawing/2014/main" id="{5BEBB3EA-D46E-45AD-AFC7-6C7787A798D5}"/>
                </a:ext>
              </a:extLst>
            </p:cNvPr>
            <p:cNvSpPr/>
            <p:nvPr/>
          </p:nvSpPr>
          <p:spPr bwMode="auto">
            <a:xfrm>
              <a:off x="9718320" y="5244911"/>
              <a:ext cx="170598" cy="147660"/>
            </a:xfrm>
            <a:custGeom>
              <a:avLst/>
              <a:gdLst>
                <a:gd name="T0" fmla="*/ 1 w 110"/>
                <a:gd name="T1" fmla="*/ 54 h 95"/>
                <a:gd name="T2" fmla="*/ 47 w 110"/>
                <a:gd name="T3" fmla="*/ 12 h 95"/>
                <a:gd name="T4" fmla="*/ 86 w 110"/>
                <a:gd name="T5" fmla="*/ 0 h 95"/>
                <a:gd name="T6" fmla="*/ 105 w 110"/>
                <a:gd name="T7" fmla="*/ 9 h 95"/>
                <a:gd name="T8" fmla="*/ 107 w 110"/>
                <a:gd name="T9" fmla="*/ 30 h 95"/>
                <a:gd name="T10" fmla="*/ 103 w 110"/>
                <a:gd name="T11" fmla="*/ 36 h 95"/>
                <a:gd name="T12" fmla="*/ 103 w 110"/>
                <a:gd name="T13" fmla="*/ 36 h 95"/>
                <a:gd name="T14" fmla="*/ 103 w 110"/>
                <a:gd name="T15" fmla="*/ 36 h 95"/>
                <a:gd name="T16" fmla="*/ 99 w 110"/>
                <a:gd name="T17" fmla="*/ 41 h 95"/>
                <a:gd name="T18" fmla="*/ 95 w 110"/>
                <a:gd name="T19" fmla="*/ 44 h 95"/>
                <a:gd name="T20" fmla="*/ 64 w 110"/>
                <a:gd name="T21" fmla="*/ 75 h 95"/>
                <a:gd name="T22" fmla="*/ 11 w 110"/>
                <a:gd name="T23" fmla="*/ 79 h 95"/>
                <a:gd name="T24" fmla="*/ 11 w 110"/>
                <a:gd name="T25" fmla="*/ 78 h 95"/>
                <a:gd name="T26" fmla="*/ 1 w 110"/>
                <a:gd name="T27" fmla="*/ 5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0" h="95">
                  <a:moveTo>
                    <a:pt x="1" y="54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60" y="5"/>
                    <a:pt x="74" y="0"/>
                    <a:pt x="86" y="0"/>
                  </a:cubicBezTo>
                  <a:cubicBezTo>
                    <a:pt x="94" y="0"/>
                    <a:pt x="101" y="3"/>
                    <a:pt x="105" y="9"/>
                  </a:cubicBezTo>
                  <a:cubicBezTo>
                    <a:pt x="109" y="15"/>
                    <a:pt x="110" y="23"/>
                    <a:pt x="107" y="30"/>
                  </a:cubicBezTo>
                  <a:cubicBezTo>
                    <a:pt x="106" y="32"/>
                    <a:pt x="104" y="34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2" y="38"/>
                    <a:pt x="100" y="39"/>
                    <a:pt x="99" y="41"/>
                  </a:cubicBezTo>
                  <a:cubicBezTo>
                    <a:pt x="98" y="42"/>
                    <a:pt x="97" y="43"/>
                    <a:pt x="95" y="44"/>
                  </a:cubicBezTo>
                  <a:cubicBezTo>
                    <a:pt x="86" y="54"/>
                    <a:pt x="70" y="71"/>
                    <a:pt x="64" y="75"/>
                  </a:cubicBezTo>
                  <a:cubicBezTo>
                    <a:pt x="55" y="80"/>
                    <a:pt x="34" y="95"/>
                    <a:pt x="11" y="79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2" y="72"/>
                    <a:pt x="0" y="63"/>
                    <a:pt x="1" y="54"/>
                  </a:cubicBezTo>
                  <a:close/>
                </a:path>
              </a:pathLst>
            </a:custGeom>
            <a:solidFill>
              <a:srgbClr val="3C3C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işlïḑê">
              <a:extLst>
                <a:ext uri="{FF2B5EF4-FFF2-40B4-BE49-F238E27FC236}">
                  <a16:creationId xmlns:a16="http://schemas.microsoft.com/office/drawing/2014/main" id="{D6BF6213-57F3-44A2-A093-890BE6BC36CD}"/>
                </a:ext>
              </a:extLst>
            </p:cNvPr>
            <p:cNvSpPr/>
            <p:nvPr/>
          </p:nvSpPr>
          <p:spPr bwMode="auto">
            <a:xfrm>
              <a:off x="9775663" y="4751755"/>
              <a:ext cx="141926" cy="572004"/>
            </a:xfrm>
            <a:custGeom>
              <a:avLst/>
              <a:gdLst>
                <a:gd name="T0" fmla="*/ 0 w 91"/>
                <a:gd name="T1" fmla="*/ 4 h 368"/>
                <a:gd name="T2" fmla="*/ 4 w 91"/>
                <a:gd name="T3" fmla="*/ 57 h 368"/>
                <a:gd name="T4" fmla="*/ 22 w 91"/>
                <a:gd name="T5" fmla="*/ 314 h 368"/>
                <a:gd name="T6" fmla="*/ 4 w 91"/>
                <a:gd name="T7" fmla="*/ 344 h 368"/>
                <a:gd name="T8" fmla="*/ 28 w 91"/>
                <a:gd name="T9" fmla="*/ 366 h 368"/>
                <a:gd name="T10" fmla="*/ 65 w 91"/>
                <a:gd name="T11" fmla="*/ 329 h 368"/>
                <a:gd name="T12" fmla="*/ 61 w 91"/>
                <a:gd name="T13" fmla="*/ 312 h 368"/>
                <a:gd name="T14" fmla="*/ 81 w 91"/>
                <a:gd name="T15" fmla="*/ 118 h 368"/>
                <a:gd name="T16" fmla="*/ 81 w 91"/>
                <a:gd name="T17" fmla="*/ 62 h 368"/>
                <a:gd name="T18" fmla="*/ 91 w 91"/>
                <a:gd name="T19" fmla="*/ 0 h 368"/>
                <a:gd name="T20" fmla="*/ 0 w 91"/>
                <a:gd name="T21" fmla="*/ 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368">
                  <a:moveTo>
                    <a:pt x="0" y="4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22" y="314"/>
                    <a:pt x="22" y="314"/>
                    <a:pt x="22" y="314"/>
                  </a:cubicBezTo>
                  <a:cubicBezTo>
                    <a:pt x="4" y="344"/>
                    <a:pt x="4" y="344"/>
                    <a:pt x="4" y="344"/>
                  </a:cubicBezTo>
                  <a:cubicBezTo>
                    <a:pt x="4" y="344"/>
                    <a:pt x="0" y="368"/>
                    <a:pt x="28" y="366"/>
                  </a:cubicBezTo>
                  <a:cubicBezTo>
                    <a:pt x="36" y="366"/>
                    <a:pt x="65" y="329"/>
                    <a:pt x="65" y="329"/>
                  </a:cubicBezTo>
                  <a:cubicBezTo>
                    <a:pt x="61" y="312"/>
                    <a:pt x="61" y="312"/>
                    <a:pt x="61" y="312"/>
                  </a:cubicBezTo>
                  <a:cubicBezTo>
                    <a:pt x="81" y="118"/>
                    <a:pt x="81" y="118"/>
                    <a:pt x="81" y="118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91" y="0"/>
                    <a:pt x="91" y="0"/>
                    <a:pt x="91" y="0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í$lîḑé">
              <a:extLst>
                <a:ext uri="{FF2B5EF4-FFF2-40B4-BE49-F238E27FC236}">
                  <a16:creationId xmlns:a16="http://schemas.microsoft.com/office/drawing/2014/main" id="{7FC40EC8-F8DD-4B43-91F9-39BB9D9DD0F1}"/>
                </a:ext>
              </a:extLst>
            </p:cNvPr>
            <p:cNvSpPr/>
            <p:nvPr/>
          </p:nvSpPr>
          <p:spPr bwMode="auto">
            <a:xfrm>
              <a:off x="10113991" y="5223407"/>
              <a:ext cx="161996" cy="183500"/>
            </a:xfrm>
            <a:custGeom>
              <a:avLst/>
              <a:gdLst>
                <a:gd name="T0" fmla="*/ 71 w 104"/>
                <a:gd name="T1" fmla="*/ 2 h 118"/>
                <a:gd name="T2" fmla="*/ 94 w 104"/>
                <a:gd name="T3" fmla="*/ 5 h 118"/>
                <a:gd name="T4" fmla="*/ 103 w 104"/>
                <a:gd name="T5" fmla="*/ 25 h 118"/>
                <a:gd name="T6" fmla="*/ 98 w 104"/>
                <a:gd name="T7" fmla="*/ 40 h 118"/>
                <a:gd name="T8" fmla="*/ 21 w 104"/>
                <a:gd name="T9" fmla="*/ 108 h 118"/>
                <a:gd name="T10" fmla="*/ 3 w 104"/>
                <a:gd name="T11" fmla="*/ 75 h 118"/>
                <a:gd name="T12" fmla="*/ 71 w 104"/>
                <a:gd name="T13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118">
                  <a:moveTo>
                    <a:pt x="71" y="2"/>
                  </a:moveTo>
                  <a:cubicBezTo>
                    <a:pt x="80" y="0"/>
                    <a:pt x="88" y="0"/>
                    <a:pt x="94" y="5"/>
                  </a:cubicBezTo>
                  <a:cubicBezTo>
                    <a:pt x="100" y="10"/>
                    <a:pt x="104" y="18"/>
                    <a:pt x="103" y="25"/>
                  </a:cubicBezTo>
                  <a:cubicBezTo>
                    <a:pt x="103" y="30"/>
                    <a:pt x="100" y="35"/>
                    <a:pt x="98" y="40"/>
                  </a:cubicBezTo>
                  <a:cubicBezTo>
                    <a:pt x="87" y="64"/>
                    <a:pt x="56" y="118"/>
                    <a:pt x="21" y="108"/>
                  </a:cubicBezTo>
                  <a:cubicBezTo>
                    <a:pt x="6" y="103"/>
                    <a:pt x="0" y="88"/>
                    <a:pt x="3" y="75"/>
                  </a:cubicBezTo>
                  <a:cubicBezTo>
                    <a:pt x="8" y="55"/>
                    <a:pt x="43" y="11"/>
                    <a:pt x="71" y="2"/>
                  </a:cubicBezTo>
                  <a:close/>
                </a:path>
              </a:pathLst>
            </a:custGeom>
            <a:solidFill>
              <a:srgbClr val="3C3C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íṧliḓè">
              <a:extLst>
                <a:ext uri="{FF2B5EF4-FFF2-40B4-BE49-F238E27FC236}">
                  <a16:creationId xmlns:a16="http://schemas.microsoft.com/office/drawing/2014/main" id="{B8494100-516E-4FA3-BDD1-F9C1D0425D02}"/>
                </a:ext>
              </a:extLst>
            </p:cNvPr>
            <p:cNvSpPr/>
            <p:nvPr/>
          </p:nvSpPr>
          <p:spPr bwMode="auto">
            <a:xfrm>
              <a:off x="9947695" y="4678643"/>
              <a:ext cx="312523" cy="636514"/>
            </a:xfrm>
            <a:custGeom>
              <a:avLst/>
              <a:gdLst>
                <a:gd name="T0" fmla="*/ 0 w 201"/>
                <a:gd name="T1" fmla="*/ 20 h 409"/>
                <a:gd name="T2" fmla="*/ 6 w 201"/>
                <a:gd name="T3" fmla="*/ 96 h 409"/>
                <a:gd name="T4" fmla="*/ 155 w 201"/>
                <a:gd name="T5" fmla="*/ 365 h 409"/>
                <a:gd name="T6" fmla="*/ 147 w 201"/>
                <a:gd name="T7" fmla="*/ 406 h 409"/>
                <a:gd name="T8" fmla="*/ 201 w 201"/>
                <a:gd name="T9" fmla="*/ 355 h 409"/>
                <a:gd name="T10" fmla="*/ 124 w 201"/>
                <a:gd name="T11" fmla="*/ 130 h 409"/>
                <a:gd name="T12" fmla="*/ 95 w 201"/>
                <a:gd name="T13" fmla="*/ 85 h 409"/>
                <a:gd name="T14" fmla="*/ 95 w 201"/>
                <a:gd name="T15" fmla="*/ 0 h 409"/>
                <a:gd name="T16" fmla="*/ 0 w 201"/>
                <a:gd name="T17" fmla="*/ 2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1" h="409">
                  <a:moveTo>
                    <a:pt x="0" y="20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155" y="365"/>
                    <a:pt x="155" y="365"/>
                    <a:pt x="155" y="365"/>
                  </a:cubicBezTo>
                  <a:cubicBezTo>
                    <a:pt x="155" y="365"/>
                    <a:pt x="134" y="403"/>
                    <a:pt x="147" y="406"/>
                  </a:cubicBezTo>
                  <a:cubicBezTo>
                    <a:pt x="161" y="409"/>
                    <a:pt x="201" y="398"/>
                    <a:pt x="201" y="355"/>
                  </a:cubicBezTo>
                  <a:cubicBezTo>
                    <a:pt x="185" y="304"/>
                    <a:pt x="124" y="130"/>
                    <a:pt x="124" y="130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5" y="0"/>
                    <a:pt x="95" y="0"/>
                    <a:pt x="95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ïṩḻiḑê">
              <a:extLst>
                <a:ext uri="{FF2B5EF4-FFF2-40B4-BE49-F238E27FC236}">
                  <a16:creationId xmlns:a16="http://schemas.microsoft.com/office/drawing/2014/main" id="{A81DB9EE-F067-43E3-BA00-FCA9CAA6B246}"/>
                </a:ext>
              </a:extLst>
            </p:cNvPr>
            <p:cNvSpPr/>
            <p:nvPr/>
          </p:nvSpPr>
          <p:spPr bwMode="auto">
            <a:xfrm>
              <a:off x="9686781" y="3388412"/>
              <a:ext cx="526128" cy="1397751"/>
            </a:xfrm>
            <a:custGeom>
              <a:avLst/>
              <a:gdLst>
                <a:gd name="T0" fmla="*/ 337 w 338"/>
                <a:gd name="T1" fmla="*/ 596 h 900"/>
                <a:gd name="T2" fmla="*/ 323 w 338"/>
                <a:gd name="T3" fmla="*/ 494 h 900"/>
                <a:gd name="T4" fmla="*/ 291 w 338"/>
                <a:gd name="T5" fmla="*/ 318 h 900"/>
                <a:gd name="T6" fmla="*/ 319 w 338"/>
                <a:gd name="T7" fmla="*/ 58 h 900"/>
                <a:gd name="T8" fmla="*/ 223 w 338"/>
                <a:gd name="T9" fmla="*/ 0 h 900"/>
                <a:gd name="T10" fmla="*/ 108 w 338"/>
                <a:gd name="T11" fmla="*/ 4 h 900"/>
                <a:gd name="T12" fmla="*/ 44 w 338"/>
                <a:gd name="T13" fmla="*/ 25 h 900"/>
                <a:gd name="T14" fmla="*/ 26 w 338"/>
                <a:gd name="T15" fmla="*/ 353 h 900"/>
                <a:gd name="T16" fmla="*/ 15 w 338"/>
                <a:gd name="T17" fmla="*/ 526 h 900"/>
                <a:gd name="T18" fmla="*/ 22 w 338"/>
                <a:gd name="T19" fmla="*/ 839 h 900"/>
                <a:gd name="T20" fmla="*/ 30 w 338"/>
                <a:gd name="T21" fmla="*/ 897 h 900"/>
                <a:gd name="T22" fmla="*/ 30 w 338"/>
                <a:gd name="T23" fmla="*/ 900 h 900"/>
                <a:gd name="T24" fmla="*/ 31 w 338"/>
                <a:gd name="T25" fmla="*/ 900 h 900"/>
                <a:gd name="T26" fmla="*/ 287 w 338"/>
                <a:gd name="T27" fmla="*/ 900 h 900"/>
                <a:gd name="T28" fmla="*/ 287 w 338"/>
                <a:gd name="T29" fmla="*/ 807 h 900"/>
                <a:gd name="T30" fmla="*/ 311 w 338"/>
                <a:gd name="T31" fmla="*/ 718 h 900"/>
                <a:gd name="T32" fmla="*/ 337 w 338"/>
                <a:gd name="T33" fmla="*/ 596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8" h="900">
                  <a:moveTo>
                    <a:pt x="337" y="596"/>
                  </a:moveTo>
                  <a:cubicBezTo>
                    <a:pt x="338" y="574"/>
                    <a:pt x="331" y="515"/>
                    <a:pt x="323" y="494"/>
                  </a:cubicBezTo>
                  <a:cubicBezTo>
                    <a:pt x="296" y="418"/>
                    <a:pt x="291" y="380"/>
                    <a:pt x="291" y="318"/>
                  </a:cubicBezTo>
                  <a:cubicBezTo>
                    <a:pt x="291" y="255"/>
                    <a:pt x="319" y="58"/>
                    <a:pt x="319" y="58"/>
                  </a:cubicBezTo>
                  <a:cubicBezTo>
                    <a:pt x="223" y="0"/>
                    <a:pt x="223" y="0"/>
                    <a:pt x="223" y="0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30" y="273"/>
                    <a:pt x="26" y="353"/>
                  </a:cubicBezTo>
                  <a:cubicBezTo>
                    <a:pt x="24" y="410"/>
                    <a:pt x="20" y="460"/>
                    <a:pt x="15" y="526"/>
                  </a:cubicBezTo>
                  <a:cubicBezTo>
                    <a:pt x="15" y="526"/>
                    <a:pt x="0" y="677"/>
                    <a:pt x="22" y="839"/>
                  </a:cubicBezTo>
                  <a:cubicBezTo>
                    <a:pt x="22" y="839"/>
                    <a:pt x="28" y="893"/>
                    <a:pt x="30" y="897"/>
                  </a:cubicBezTo>
                  <a:cubicBezTo>
                    <a:pt x="30" y="899"/>
                    <a:pt x="30" y="900"/>
                    <a:pt x="30" y="900"/>
                  </a:cubicBezTo>
                  <a:cubicBezTo>
                    <a:pt x="31" y="900"/>
                    <a:pt x="31" y="900"/>
                    <a:pt x="31" y="900"/>
                  </a:cubicBezTo>
                  <a:cubicBezTo>
                    <a:pt x="287" y="900"/>
                    <a:pt x="287" y="900"/>
                    <a:pt x="287" y="900"/>
                  </a:cubicBezTo>
                  <a:cubicBezTo>
                    <a:pt x="287" y="807"/>
                    <a:pt x="287" y="807"/>
                    <a:pt x="287" y="807"/>
                  </a:cubicBezTo>
                  <a:cubicBezTo>
                    <a:pt x="296" y="778"/>
                    <a:pt x="304" y="748"/>
                    <a:pt x="311" y="718"/>
                  </a:cubicBezTo>
                  <a:cubicBezTo>
                    <a:pt x="321" y="680"/>
                    <a:pt x="334" y="638"/>
                    <a:pt x="337" y="596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i$1iḑe">
              <a:extLst>
                <a:ext uri="{FF2B5EF4-FFF2-40B4-BE49-F238E27FC236}">
                  <a16:creationId xmlns:a16="http://schemas.microsoft.com/office/drawing/2014/main" id="{1579FBB4-8768-4C84-885E-4227CFB9E6F4}"/>
                </a:ext>
              </a:extLst>
            </p:cNvPr>
            <p:cNvSpPr/>
            <p:nvPr/>
          </p:nvSpPr>
          <p:spPr bwMode="auto">
            <a:xfrm>
              <a:off x="9746992" y="3105994"/>
              <a:ext cx="134758" cy="311090"/>
            </a:xfrm>
            <a:custGeom>
              <a:avLst/>
              <a:gdLst>
                <a:gd name="T0" fmla="*/ 39 w 86"/>
                <a:gd name="T1" fmla="*/ 103 h 201"/>
                <a:gd name="T2" fmla="*/ 58 w 86"/>
                <a:gd name="T3" fmla="*/ 165 h 201"/>
                <a:gd name="T4" fmla="*/ 64 w 86"/>
                <a:gd name="T5" fmla="*/ 191 h 201"/>
                <a:gd name="T6" fmla="*/ 33 w 86"/>
                <a:gd name="T7" fmla="*/ 192 h 201"/>
                <a:gd name="T8" fmla="*/ 24 w 86"/>
                <a:gd name="T9" fmla="*/ 173 h 201"/>
                <a:gd name="T10" fmla="*/ 3 w 86"/>
                <a:gd name="T11" fmla="*/ 70 h 201"/>
                <a:gd name="T12" fmla="*/ 68 w 86"/>
                <a:gd name="T13" fmla="*/ 16 h 201"/>
                <a:gd name="T14" fmla="*/ 80 w 86"/>
                <a:gd name="T15" fmla="*/ 30 h 201"/>
                <a:gd name="T16" fmla="*/ 84 w 86"/>
                <a:gd name="T17" fmla="*/ 40 h 201"/>
                <a:gd name="T18" fmla="*/ 63 w 86"/>
                <a:gd name="T19" fmla="*/ 66 h 201"/>
                <a:gd name="T20" fmla="*/ 39 w 86"/>
                <a:gd name="T21" fmla="*/ 10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201">
                  <a:moveTo>
                    <a:pt x="39" y="103"/>
                  </a:moveTo>
                  <a:cubicBezTo>
                    <a:pt x="34" y="125"/>
                    <a:pt x="47" y="146"/>
                    <a:pt x="58" y="165"/>
                  </a:cubicBezTo>
                  <a:cubicBezTo>
                    <a:pt x="63" y="172"/>
                    <a:pt x="70" y="183"/>
                    <a:pt x="64" y="191"/>
                  </a:cubicBezTo>
                  <a:cubicBezTo>
                    <a:pt x="57" y="201"/>
                    <a:pt x="41" y="199"/>
                    <a:pt x="33" y="192"/>
                  </a:cubicBezTo>
                  <a:cubicBezTo>
                    <a:pt x="28" y="187"/>
                    <a:pt x="26" y="180"/>
                    <a:pt x="24" y="173"/>
                  </a:cubicBezTo>
                  <a:cubicBezTo>
                    <a:pt x="14" y="143"/>
                    <a:pt x="0" y="101"/>
                    <a:pt x="3" y="70"/>
                  </a:cubicBezTo>
                  <a:cubicBezTo>
                    <a:pt x="5" y="45"/>
                    <a:pt x="36" y="0"/>
                    <a:pt x="68" y="16"/>
                  </a:cubicBezTo>
                  <a:cubicBezTo>
                    <a:pt x="73" y="19"/>
                    <a:pt x="77" y="24"/>
                    <a:pt x="80" y="30"/>
                  </a:cubicBezTo>
                  <a:cubicBezTo>
                    <a:pt x="82" y="33"/>
                    <a:pt x="84" y="36"/>
                    <a:pt x="84" y="40"/>
                  </a:cubicBezTo>
                  <a:cubicBezTo>
                    <a:pt x="86" y="54"/>
                    <a:pt x="72" y="58"/>
                    <a:pt x="63" y="66"/>
                  </a:cubicBezTo>
                  <a:cubicBezTo>
                    <a:pt x="51" y="76"/>
                    <a:pt x="43" y="89"/>
                    <a:pt x="39" y="10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í$1ïḋé">
              <a:extLst>
                <a:ext uri="{FF2B5EF4-FFF2-40B4-BE49-F238E27FC236}">
                  <a16:creationId xmlns:a16="http://schemas.microsoft.com/office/drawing/2014/main" id="{73BB98B0-1A21-415B-94B2-44E13A20DBD5}"/>
                </a:ext>
              </a:extLst>
            </p:cNvPr>
            <p:cNvSpPr/>
            <p:nvPr/>
          </p:nvSpPr>
          <p:spPr bwMode="auto">
            <a:xfrm>
              <a:off x="9797167" y="3131799"/>
              <a:ext cx="240843" cy="266648"/>
            </a:xfrm>
            <a:custGeom>
              <a:avLst/>
              <a:gdLst>
                <a:gd name="T0" fmla="*/ 61 w 155"/>
                <a:gd name="T1" fmla="*/ 164 h 172"/>
                <a:gd name="T2" fmla="*/ 12 w 155"/>
                <a:gd name="T3" fmla="*/ 129 h 172"/>
                <a:gd name="T4" fmla="*/ 1 w 155"/>
                <a:gd name="T5" fmla="*/ 70 h 172"/>
                <a:gd name="T6" fmla="*/ 125 w 155"/>
                <a:gd name="T7" fmla="*/ 48 h 172"/>
                <a:gd name="T8" fmla="*/ 61 w 155"/>
                <a:gd name="T9" fmla="*/ 16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172">
                  <a:moveTo>
                    <a:pt x="61" y="164"/>
                  </a:moveTo>
                  <a:cubicBezTo>
                    <a:pt x="39" y="162"/>
                    <a:pt x="22" y="147"/>
                    <a:pt x="12" y="129"/>
                  </a:cubicBezTo>
                  <a:cubicBezTo>
                    <a:pt x="3" y="111"/>
                    <a:pt x="0" y="90"/>
                    <a:pt x="1" y="70"/>
                  </a:cubicBezTo>
                  <a:cubicBezTo>
                    <a:pt x="2" y="3"/>
                    <a:pt x="90" y="0"/>
                    <a:pt x="125" y="48"/>
                  </a:cubicBezTo>
                  <a:cubicBezTo>
                    <a:pt x="155" y="90"/>
                    <a:pt x="122" y="172"/>
                    <a:pt x="61" y="164"/>
                  </a:cubicBez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ïś1idè">
              <a:extLst>
                <a:ext uri="{FF2B5EF4-FFF2-40B4-BE49-F238E27FC236}">
                  <a16:creationId xmlns:a16="http://schemas.microsoft.com/office/drawing/2014/main" id="{9BBC4954-7DB7-42F7-8CE7-7E3E1AB12A85}"/>
                </a:ext>
              </a:extLst>
            </p:cNvPr>
            <p:cNvSpPr/>
            <p:nvPr/>
          </p:nvSpPr>
          <p:spPr bwMode="auto">
            <a:xfrm>
              <a:off x="9791432" y="3001342"/>
              <a:ext cx="309655" cy="368433"/>
            </a:xfrm>
            <a:custGeom>
              <a:avLst/>
              <a:gdLst>
                <a:gd name="T0" fmla="*/ 125 w 199"/>
                <a:gd name="T1" fmla="*/ 163 h 237"/>
                <a:gd name="T2" fmla="*/ 131 w 199"/>
                <a:gd name="T3" fmla="*/ 188 h 237"/>
                <a:gd name="T4" fmla="*/ 135 w 199"/>
                <a:gd name="T5" fmla="*/ 237 h 237"/>
                <a:gd name="T6" fmla="*/ 181 w 199"/>
                <a:gd name="T7" fmla="*/ 215 h 237"/>
                <a:gd name="T8" fmla="*/ 194 w 199"/>
                <a:gd name="T9" fmla="*/ 172 h 237"/>
                <a:gd name="T10" fmla="*/ 198 w 199"/>
                <a:gd name="T11" fmla="*/ 127 h 237"/>
                <a:gd name="T12" fmla="*/ 39 w 199"/>
                <a:gd name="T13" fmla="*/ 37 h 237"/>
                <a:gd name="T14" fmla="*/ 20 w 199"/>
                <a:gd name="T15" fmla="*/ 110 h 237"/>
                <a:gd name="T16" fmla="*/ 112 w 199"/>
                <a:gd name="T17" fmla="*/ 143 h 237"/>
                <a:gd name="T18" fmla="*/ 125 w 199"/>
                <a:gd name="T19" fmla="*/ 163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9" h="237">
                  <a:moveTo>
                    <a:pt x="125" y="163"/>
                  </a:moveTo>
                  <a:cubicBezTo>
                    <a:pt x="126" y="171"/>
                    <a:pt x="130" y="180"/>
                    <a:pt x="131" y="188"/>
                  </a:cubicBezTo>
                  <a:cubicBezTo>
                    <a:pt x="133" y="204"/>
                    <a:pt x="130" y="223"/>
                    <a:pt x="135" y="237"/>
                  </a:cubicBezTo>
                  <a:cubicBezTo>
                    <a:pt x="151" y="235"/>
                    <a:pt x="170" y="226"/>
                    <a:pt x="181" y="215"/>
                  </a:cubicBezTo>
                  <a:cubicBezTo>
                    <a:pt x="193" y="204"/>
                    <a:pt x="191" y="188"/>
                    <a:pt x="194" y="172"/>
                  </a:cubicBezTo>
                  <a:cubicBezTo>
                    <a:pt x="196" y="157"/>
                    <a:pt x="199" y="142"/>
                    <a:pt x="198" y="127"/>
                  </a:cubicBezTo>
                  <a:cubicBezTo>
                    <a:pt x="194" y="45"/>
                    <a:pt x="112" y="0"/>
                    <a:pt x="39" y="37"/>
                  </a:cubicBezTo>
                  <a:cubicBezTo>
                    <a:pt x="12" y="51"/>
                    <a:pt x="0" y="87"/>
                    <a:pt x="20" y="110"/>
                  </a:cubicBezTo>
                  <a:cubicBezTo>
                    <a:pt x="42" y="135"/>
                    <a:pt x="86" y="124"/>
                    <a:pt x="112" y="143"/>
                  </a:cubicBezTo>
                  <a:cubicBezTo>
                    <a:pt x="117" y="147"/>
                    <a:pt x="122" y="155"/>
                    <a:pt x="125" y="16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ïṣlîďê">
              <a:extLst>
                <a:ext uri="{FF2B5EF4-FFF2-40B4-BE49-F238E27FC236}">
                  <a16:creationId xmlns:a16="http://schemas.microsoft.com/office/drawing/2014/main" id="{7C6AEDA8-4E2A-4EDF-931D-AB6CAF5E1CD4}"/>
                </a:ext>
              </a:extLst>
            </p:cNvPr>
            <p:cNvSpPr/>
            <p:nvPr/>
          </p:nvSpPr>
          <p:spPr bwMode="auto">
            <a:xfrm>
              <a:off x="9888917" y="3352571"/>
              <a:ext cx="73113" cy="63078"/>
            </a:xfrm>
            <a:custGeom>
              <a:avLst/>
              <a:gdLst>
                <a:gd name="T0" fmla="*/ 0 w 47"/>
                <a:gd name="T1" fmla="*/ 15 h 41"/>
                <a:gd name="T2" fmla="*/ 3 w 47"/>
                <a:gd name="T3" fmla="*/ 30 h 41"/>
                <a:gd name="T4" fmla="*/ 5 w 47"/>
                <a:gd name="T5" fmla="*/ 41 h 41"/>
                <a:gd name="T6" fmla="*/ 9 w 47"/>
                <a:gd name="T7" fmla="*/ 41 h 41"/>
                <a:gd name="T8" fmla="*/ 47 w 47"/>
                <a:gd name="T9" fmla="*/ 34 h 41"/>
                <a:gd name="T10" fmla="*/ 43 w 47"/>
                <a:gd name="T11" fmla="*/ 17 h 41"/>
                <a:gd name="T12" fmla="*/ 38 w 47"/>
                <a:gd name="T13" fmla="*/ 0 h 41"/>
                <a:gd name="T14" fmla="*/ 20 w 47"/>
                <a:gd name="T15" fmla="*/ 9 h 41"/>
                <a:gd name="T16" fmla="*/ 0 w 47"/>
                <a:gd name="T17" fmla="*/ 14 h 41"/>
                <a:gd name="T18" fmla="*/ 0 w 47"/>
                <a:gd name="T19" fmla="*/ 1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1">
                  <a:moveTo>
                    <a:pt x="0" y="15"/>
                  </a:moveTo>
                  <a:cubicBezTo>
                    <a:pt x="1" y="20"/>
                    <a:pt x="2" y="25"/>
                    <a:pt x="3" y="30"/>
                  </a:cubicBezTo>
                  <a:cubicBezTo>
                    <a:pt x="4" y="33"/>
                    <a:pt x="3" y="39"/>
                    <a:pt x="5" y="41"/>
                  </a:cubicBezTo>
                  <a:cubicBezTo>
                    <a:pt x="6" y="41"/>
                    <a:pt x="8" y="41"/>
                    <a:pt x="9" y="41"/>
                  </a:cubicBezTo>
                  <a:cubicBezTo>
                    <a:pt x="13" y="41"/>
                    <a:pt x="47" y="36"/>
                    <a:pt x="47" y="34"/>
                  </a:cubicBezTo>
                  <a:cubicBezTo>
                    <a:pt x="46" y="28"/>
                    <a:pt x="45" y="23"/>
                    <a:pt x="43" y="17"/>
                  </a:cubicBezTo>
                  <a:cubicBezTo>
                    <a:pt x="42" y="12"/>
                    <a:pt x="41" y="4"/>
                    <a:pt x="38" y="0"/>
                  </a:cubicBezTo>
                  <a:cubicBezTo>
                    <a:pt x="33" y="4"/>
                    <a:pt x="26" y="7"/>
                    <a:pt x="20" y="9"/>
                  </a:cubicBezTo>
                  <a:cubicBezTo>
                    <a:pt x="13" y="11"/>
                    <a:pt x="6" y="13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íṩlîdê">
              <a:extLst>
                <a:ext uri="{FF2B5EF4-FFF2-40B4-BE49-F238E27FC236}">
                  <a16:creationId xmlns:a16="http://schemas.microsoft.com/office/drawing/2014/main" id="{61D32F46-23DD-4419-A5EE-AD684B61478D}"/>
                </a:ext>
              </a:extLst>
            </p:cNvPr>
            <p:cNvSpPr/>
            <p:nvPr/>
          </p:nvSpPr>
          <p:spPr bwMode="auto">
            <a:xfrm>
              <a:off x="9058868" y="3200610"/>
              <a:ext cx="854421" cy="993479"/>
            </a:xfrm>
            <a:custGeom>
              <a:avLst/>
              <a:gdLst>
                <a:gd name="T0" fmla="*/ 202 w 550"/>
                <a:gd name="T1" fmla="*/ 636 h 640"/>
                <a:gd name="T2" fmla="*/ 535 w 550"/>
                <a:gd name="T3" fmla="*/ 513 h 640"/>
                <a:gd name="T4" fmla="*/ 546 w 550"/>
                <a:gd name="T5" fmla="*/ 487 h 640"/>
                <a:gd name="T6" fmla="*/ 373 w 550"/>
                <a:gd name="T7" fmla="*/ 17 h 640"/>
                <a:gd name="T8" fmla="*/ 348 w 550"/>
                <a:gd name="T9" fmla="*/ 4 h 640"/>
                <a:gd name="T10" fmla="*/ 15 w 550"/>
                <a:gd name="T11" fmla="*/ 127 h 640"/>
                <a:gd name="T12" fmla="*/ 4 w 550"/>
                <a:gd name="T13" fmla="*/ 153 h 640"/>
                <a:gd name="T14" fmla="*/ 177 w 550"/>
                <a:gd name="T15" fmla="*/ 623 h 640"/>
                <a:gd name="T16" fmla="*/ 202 w 550"/>
                <a:gd name="T17" fmla="*/ 636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0" h="640">
                  <a:moveTo>
                    <a:pt x="202" y="636"/>
                  </a:moveTo>
                  <a:cubicBezTo>
                    <a:pt x="535" y="513"/>
                    <a:pt x="535" y="513"/>
                    <a:pt x="535" y="513"/>
                  </a:cubicBezTo>
                  <a:cubicBezTo>
                    <a:pt x="545" y="510"/>
                    <a:pt x="550" y="498"/>
                    <a:pt x="546" y="487"/>
                  </a:cubicBezTo>
                  <a:cubicBezTo>
                    <a:pt x="373" y="17"/>
                    <a:pt x="373" y="17"/>
                    <a:pt x="373" y="17"/>
                  </a:cubicBezTo>
                  <a:cubicBezTo>
                    <a:pt x="369" y="6"/>
                    <a:pt x="358" y="0"/>
                    <a:pt x="348" y="4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5" y="130"/>
                    <a:pt x="0" y="142"/>
                    <a:pt x="4" y="153"/>
                  </a:cubicBezTo>
                  <a:cubicBezTo>
                    <a:pt x="177" y="623"/>
                    <a:pt x="177" y="623"/>
                    <a:pt x="177" y="623"/>
                  </a:cubicBezTo>
                  <a:cubicBezTo>
                    <a:pt x="181" y="634"/>
                    <a:pt x="192" y="640"/>
                    <a:pt x="202" y="636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isľíḑè">
              <a:extLst>
                <a:ext uri="{FF2B5EF4-FFF2-40B4-BE49-F238E27FC236}">
                  <a16:creationId xmlns:a16="http://schemas.microsoft.com/office/drawing/2014/main" id="{C078B47A-AFF4-4F60-A182-4A19F6EE1D9B}"/>
                </a:ext>
              </a:extLst>
            </p:cNvPr>
            <p:cNvSpPr/>
            <p:nvPr/>
          </p:nvSpPr>
          <p:spPr bwMode="auto">
            <a:xfrm>
              <a:off x="9481777" y="3505966"/>
              <a:ext cx="225074" cy="230809"/>
            </a:xfrm>
            <a:custGeom>
              <a:avLst/>
              <a:gdLst>
                <a:gd name="T0" fmla="*/ 50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09 w 145"/>
                <a:gd name="T7" fmla="*/ 9 h 148"/>
                <a:gd name="T8" fmla="*/ 96 w 145"/>
                <a:gd name="T9" fmla="*/ 2 h 148"/>
                <a:gd name="T10" fmla="*/ 8 w 145"/>
                <a:gd name="T11" fmla="*/ 34 h 148"/>
                <a:gd name="T12" fmla="*/ 2 w 145"/>
                <a:gd name="T13" fmla="*/ 48 h 148"/>
                <a:gd name="T14" fmla="*/ 36 w 145"/>
                <a:gd name="T15" fmla="*/ 139 h 148"/>
                <a:gd name="T16" fmla="*/ 50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50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2" y="112"/>
                    <a:pt x="145" y="106"/>
                    <a:pt x="143" y="100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7" y="3"/>
                    <a:pt x="101" y="0"/>
                    <a:pt x="96" y="2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3" y="36"/>
                    <a:pt x="0" y="42"/>
                    <a:pt x="2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50" y="146"/>
                  </a:cubicBezTo>
                  <a:close/>
                </a:path>
              </a:pathLst>
            </a:custGeom>
            <a:solidFill>
              <a:srgbClr val="EED5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ï$ļiḋè">
              <a:extLst>
                <a:ext uri="{FF2B5EF4-FFF2-40B4-BE49-F238E27FC236}">
                  <a16:creationId xmlns:a16="http://schemas.microsoft.com/office/drawing/2014/main" id="{0D639CFC-FBE1-4EEC-A5D5-952FE71BE378}"/>
                </a:ext>
              </a:extLst>
            </p:cNvPr>
            <p:cNvSpPr/>
            <p:nvPr/>
          </p:nvSpPr>
          <p:spPr bwMode="auto">
            <a:xfrm>
              <a:off x="9230899" y="3597715"/>
              <a:ext cx="225074" cy="230809"/>
            </a:xfrm>
            <a:custGeom>
              <a:avLst/>
              <a:gdLst>
                <a:gd name="T0" fmla="*/ 50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10 w 145"/>
                <a:gd name="T7" fmla="*/ 9 h 148"/>
                <a:gd name="T8" fmla="*/ 96 w 145"/>
                <a:gd name="T9" fmla="*/ 2 h 148"/>
                <a:gd name="T10" fmla="*/ 9 w 145"/>
                <a:gd name="T11" fmla="*/ 34 h 148"/>
                <a:gd name="T12" fmla="*/ 3 w 145"/>
                <a:gd name="T13" fmla="*/ 48 h 148"/>
                <a:gd name="T14" fmla="*/ 36 w 145"/>
                <a:gd name="T15" fmla="*/ 139 h 148"/>
                <a:gd name="T16" fmla="*/ 50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50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3" y="112"/>
                    <a:pt x="145" y="106"/>
                    <a:pt x="143" y="100"/>
                  </a:cubicBezTo>
                  <a:cubicBezTo>
                    <a:pt x="110" y="9"/>
                    <a:pt x="110" y="9"/>
                    <a:pt x="110" y="9"/>
                  </a:cubicBezTo>
                  <a:cubicBezTo>
                    <a:pt x="107" y="3"/>
                    <a:pt x="101" y="0"/>
                    <a:pt x="96" y="2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3" y="36"/>
                    <a:pt x="0" y="42"/>
                    <a:pt x="3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50" y="146"/>
                  </a:cubicBezTo>
                  <a:close/>
                </a:path>
              </a:pathLst>
            </a:custGeom>
            <a:solidFill>
              <a:srgbClr val="EED5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íṣļîḋè">
              <a:extLst>
                <a:ext uri="{FF2B5EF4-FFF2-40B4-BE49-F238E27FC236}">
                  <a16:creationId xmlns:a16="http://schemas.microsoft.com/office/drawing/2014/main" id="{55293E5B-30FC-4420-8588-52EC22A5F01A}"/>
                </a:ext>
              </a:extLst>
            </p:cNvPr>
            <p:cNvSpPr/>
            <p:nvPr/>
          </p:nvSpPr>
          <p:spPr bwMode="auto">
            <a:xfrm>
              <a:off x="9566360" y="3738208"/>
              <a:ext cx="226507" cy="229374"/>
            </a:xfrm>
            <a:custGeom>
              <a:avLst/>
              <a:gdLst>
                <a:gd name="T0" fmla="*/ 49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09 w 145"/>
                <a:gd name="T7" fmla="*/ 9 h 148"/>
                <a:gd name="T8" fmla="*/ 95 w 145"/>
                <a:gd name="T9" fmla="*/ 2 h 148"/>
                <a:gd name="T10" fmla="*/ 8 w 145"/>
                <a:gd name="T11" fmla="*/ 34 h 148"/>
                <a:gd name="T12" fmla="*/ 2 w 145"/>
                <a:gd name="T13" fmla="*/ 48 h 148"/>
                <a:gd name="T14" fmla="*/ 36 w 145"/>
                <a:gd name="T15" fmla="*/ 139 h 148"/>
                <a:gd name="T16" fmla="*/ 49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49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2" y="112"/>
                    <a:pt x="145" y="106"/>
                    <a:pt x="143" y="100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7" y="3"/>
                    <a:pt x="101" y="0"/>
                    <a:pt x="95" y="2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3" y="36"/>
                    <a:pt x="0" y="42"/>
                    <a:pt x="2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49" y="146"/>
                  </a:cubicBezTo>
                  <a:close/>
                </a:path>
              </a:pathLst>
            </a:custGeom>
            <a:solidFill>
              <a:srgbClr val="EED5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íšľîḋê">
              <a:extLst>
                <a:ext uri="{FF2B5EF4-FFF2-40B4-BE49-F238E27FC236}">
                  <a16:creationId xmlns:a16="http://schemas.microsoft.com/office/drawing/2014/main" id="{6755A15F-0D03-425C-8921-A23A9F183AC3}"/>
                </a:ext>
              </a:extLst>
            </p:cNvPr>
            <p:cNvSpPr/>
            <p:nvPr/>
          </p:nvSpPr>
          <p:spPr bwMode="auto">
            <a:xfrm>
              <a:off x="9316914" y="3829957"/>
              <a:ext cx="225074" cy="229374"/>
            </a:xfrm>
            <a:custGeom>
              <a:avLst/>
              <a:gdLst>
                <a:gd name="T0" fmla="*/ 50 w 145"/>
                <a:gd name="T1" fmla="*/ 146 h 148"/>
                <a:gd name="T2" fmla="*/ 137 w 145"/>
                <a:gd name="T3" fmla="*/ 114 h 148"/>
                <a:gd name="T4" fmla="*/ 143 w 145"/>
                <a:gd name="T5" fmla="*/ 100 h 148"/>
                <a:gd name="T6" fmla="*/ 109 w 145"/>
                <a:gd name="T7" fmla="*/ 9 h 148"/>
                <a:gd name="T8" fmla="*/ 96 w 145"/>
                <a:gd name="T9" fmla="*/ 2 h 148"/>
                <a:gd name="T10" fmla="*/ 8 w 145"/>
                <a:gd name="T11" fmla="*/ 34 h 148"/>
                <a:gd name="T12" fmla="*/ 2 w 145"/>
                <a:gd name="T13" fmla="*/ 48 h 148"/>
                <a:gd name="T14" fmla="*/ 36 w 145"/>
                <a:gd name="T15" fmla="*/ 139 h 148"/>
                <a:gd name="T16" fmla="*/ 50 w 145"/>
                <a:gd name="T17" fmla="*/ 1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5" h="148">
                  <a:moveTo>
                    <a:pt x="50" y="146"/>
                  </a:moveTo>
                  <a:cubicBezTo>
                    <a:pt x="137" y="114"/>
                    <a:pt x="137" y="114"/>
                    <a:pt x="137" y="114"/>
                  </a:cubicBezTo>
                  <a:cubicBezTo>
                    <a:pt x="142" y="112"/>
                    <a:pt x="145" y="106"/>
                    <a:pt x="143" y="100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7" y="3"/>
                    <a:pt x="101" y="0"/>
                    <a:pt x="96" y="2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3" y="36"/>
                    <a:pt x="0" y="42"/>
                    <a:pt x="2" y="48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8" y="145"/>
                    <a:pt x="44" y="148"/>
                    <a:pt x="50" y="146"/>
                  </a:cubicBezTo>
                  <a:close/>
                </a:path>
              </a:pathLst>
            </a:custGeom>
            <a:solidFill>
              <a:srgbClr val="5D66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îṣliḓe">
              <a:extLst>
                <a:ext uri="{FF2B5EF4-FFF2-40B4-BE49-F238E27FC236}">
                  <a16:creationId xmlns:a16="http://schemas.microsoft.com/office/drawing/2014/main" id="{16029DDF-DBC8-48CC-9EC3-CEC9524F9701}"/>
                </a:ext>
              </a:extLst>
            </p:cNvPr>
            <p:cNvSpPr/>
            <p:nvPr/>
          </p:nvSpPr>
          <p:spPr bwMode="auto">
            <a:xfrm>
              <a:off x="9539121" y="3561876"/>
              <a:ext cx="111820" cy="123289"/>
            </a:xfrm>
            <a:custGeom>
              <a:avLst/>
              <a:gdLst>
                <a:gd name="T0" fmla="*/ 19 w 72"/>
                <a:gd name="T1" fmla="*/ 8 h 79"/>
                <a:gd name="T2" fmla="*/ 19 w 72"/>
                <a:gd name="T3" fmla="*/ 4 h 79"/>
                <a:gd name="T4" fmla="*/ 22 w 72"/>
                <a:gd name="T5" fmla="*/ 1 h 79"/>
                <a:gd name="T6" fmla="*/ 26 w 72"/>
                <a:gd name="T7" fmla="*/ 1 h 79"/>
                <a:gd name="T8" fmla="*/ 29 w 72"/>
                <a:gd name="T9" fmla="*/ 5 h 79"/>
                <a:gd name="T10" fmla="*/ 39 w 72"/>
                <a:gd name="T11" fmla="*/ 32 h 79"/>
                <a:gd name="T12" fmla="*/ 64 w 72"/>
                <a:gd name="T13" fmla="*/ 23 h 79"/>
                <a:gd name="T14" fmla="*/ 68 w 72"/>
                <a:gd name="T15" fmla="*/ 23 h 79"/>
                <a:gd name="T16" fmla="*/ 71 w 72"/>
                <a:gd name="T17" fmla="*/ 26 h 79"/>
                <a:gd name="T18" fmla="*/ 71 w 72"/>
                <a:gd name="T19" fmla="*/ 31 h 79"/>
                <a:gd name="T20" fmla="*/ 68 w 72"/>
                <a:gd name="T21" fmla="*/ 34 h 79"/>
                <a:gd name="T22" fmla="*/ 43 w 72"/>
                <a:gd name="T23" fmla="*/ 43 h 79"/>
                <a:gd name="T24" fmla="*/ 53 w 72"/>
                <a:gd name="T25" fmla="*/ 70 h 79"/>
                <a:gd name="T26" fmla="*/ 53 w 72"/>
                <a:gd name="T27" fmla="*/ 75 h 79"/>
                <a:gd name="T28" fmla="*/ 50 w 72"/>
                <a:gd name="T29" fmla="*/ 78 h 79"/>
                <a:gd name="T30" fmla="*/ 46 w 72"/>
                <a:gd name="T31" fmla="*/ 78 h 79"/>
                <a:gd name="T32" fmla="*/ 43 w 72"/>
                <a:gd name="T33" fmla="*/ 74 h 79"/>
                <a:gd name="T34" fmla="*/ 33 w 72"/>
                <a:gd name="T35" fmla="*/ 47 h 79"/>
                <a:gd name="T36" fmla="*/ 8 w 72"/>
                <a:gd name="T37" fmla="*/ 56 h 79"/>
                <a:gd name="T38" fmla="*/ 4 w 72"/>
                <a:gd name="T39" fmla="*/ 56 h 79"/>
                <a:gd name="T40" fmla="*/ 1 w 72"/>
                <a:gd name="T41" fmla="*/ 52 h 79"/>
                <a:gd name="T42" fmla="*/ 1 w 72"/>
                <a:gd name="T43" fmla="*/ 48 h 79"/>
                <a:gd name="T44" fmla="*/ 4 w 72"/>
                <a:gd name="T45" fmla="*/ 45 h 79"/>
                <a:gd name="T46" fmla="*/ 29 w 72"/>
                <a:gd name="T47" fmla="*/ 36 h 79"/>
                <a:gd name="T48" fmla="*/ 19 w 72"/>
                <a:gd name="T49" fmla="*/ 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2" h="79">
                  <a:moveTo>
                    <a:pt x="19" y="8"/>
                  </a:moveTo>
                  <a:cubicBezTo>
                    <a:pt x="18" y="7"/>
                    <a:pt x="18" y="5"/>
                    <a:pt x="19" y="4"/>
                  </a:cubicBezTo>
                  <a:cubicBezTo>
                    <a:pt x="19" y="2"/>
                    <a:pt x="20" y="1"/>
                    <a:pt x="22" y="1"/>
                  </a:cubicBezTo>
                  <a:cubicBezTo>
                    <a:pt x="23" y="0"/>
                    <a:pt x="25" y="0"/>
                    <a:pt x="26" y="1"/>
                  </a:cubicBezTo>
                  <a:cubicBezTo>
                    <a:pt x="27" y="2"/>
                    <a:pt x="28" y="3"/>
                    <a:pt x="29" y="5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2"/>
                    <a:pt x="67" y="22"/>
                    <a:pt x="68" y="23"/>
                  </a:cubicBezTo>
                  <a:cubicBezTo>
                    <a:pt x="70" y="24"/>
                    <a:pt x="71" y="25"/>
                    <a:pt x="71" y="26"/>
                  </a:cubicBezTo>
                  <a:cubicBezTo>
                    <a:pt x="72" y="28"/>
                    <a:pt x="72" y="29"/>
                    <a:pt x="71" y="31"/>
                  </a:cubicBezTo>
                  <a:cubicBezTo>
                    <a:pt x="70" y="32"/>
                    <a:pt x="69" y="33"/>
                    <a:pt x="68" y="34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4" y="72"/>
                    <a:pt x="54" y="73"/>
                    <a:pt x="53" y="75"/>
                  </a:cubicBezTo>
                  <a:cubicBezTo>
                    <a:pt x="53" y="76"/>
                    <a:pt x="52" y="78"/>
                    <a:pt x="50" y="78"/>
                  </a:cubicBezTo>
                  <a:cubicBezTo>
                    <a:pt x="49" y="79"/>
                    <a:pt x="47" y="79"/>
                    <a:pt x="46" y="78"/>
                  </a:cubicBezTo>
                  <a:cubicBezTo>
                    <a:pt x="45" y="77"/>
                    <a:pt x="44" y="76"/>
                    <a:pt x="43" y="74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7" y="56"/>
                    <a:pt x="5" y="56"/>
                    <a:pt x="4" y="56"/>
                  </a:cubicBezTo>
                  <a:cubicBezTo>
                    <a:pt x="2" y="55"/>
                    <a:pt x="1" y="54"/>
                    <a:pt x="1" y="52"/>
                  </a:cubicBezTo>
                  <a:cubicBezTo>
                    <a:pt x="0" y="51"/>
                    <a:pt x="0" y="49"/>
                    <a:pt x="1" y="48"/>
                  </a:cubicBezTo>
                  <a:cubicBezTo>
                    <a:pt x="2" y="46"/>
                    <a:pt x="3" y="45"/>
                    <a:pt x="4" y="45"/>
                  </a:cubicBezTo>
                  <a:cubicBezTo>
                    <a:pt x="29" y="36"/>
                    <a:pt x="29" y="36"/>
                    <a:pt x="29" y="36"/>
                  </a:cubicBezTo>
                  <a:lnTo>
                    <a:pt x="19" y="8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iš1íḑe">
              <a:extLst>
                <a:ext uri="{FF2B5EF4-FFF2-40B4-BE49-F238E27FC236}">
                  <a16:creationId xmlns:a16="http://schemas.microsoft.com/office/drawing/2014/main" id="{5C2C788B-DE8C-430B-9EB3-259616995D37}"/>
                </a:ext>
              </a:extLst>
            </p:cNvPr>
            <p:cNvSpPr/>
            <p:nvPr/>
          </p:nvSpPr>
          <p:spPr bwMode="auto">
            <a:xfrm>
              <a:off x="9291110" y="3688031"/>
              <a:ext cx="104652" cy="54476"/>
            </a:xfrm>
            <a:custGeom>
              <a:avLst/>
              <a:gdLst>
                <a:gd name="T0" fmla="*/ 8 w 67"/>
                <a:gd name="T1" fmla="*/ 35 h 35"/>
                <a:gd name="T2" fmla="*/ 5 w 67"/>
                <a:gd name="T3" fmla="*/ 35 h 35"/>
                <a:gd name="T4" fmla="*/ 4 w 67"/>
                <a:gd name="T5" fmla="*/ 33 h 35"/>
                <a:gd name="T6" fmla="*/ 1 w 67"/>
                <a:gd name="T7" fmla="*/ 25 h 35"/>
                <a:gd name="T8" fmla="*/ 1 w 67"/>
                <a:gd name="T9" fmla="*/ 23 h 35"/>
                <a:gd name="T10" fmla="*/ 3 w 67"/>
                <a:gd name="T11" fmla="*/ 21 h 35"/>
                <a:gd name="T12" fmla="*/ 59 w 67"/>
                <a:gd name="T13" fmla="*/ 0 h 35"/>
                <a:gd name="T14" fmla="*/ 62 w 67"/>
                <a:gd name="T15" fmla="*/ 0 h 35"/>
                <a:gd name="T16" fmla="*/ 63 w 67"/>
                <a:gd name="T17" fmla="*/ 2 h 35"/>
                <a:gd name="T18" fmla="*/ 66 w 67"/>
                <a:gd name="T19" fmla="*/ 10 h 35"/>
                <a:gd name="T20" fmla="*/ 67 w 67"/>
                <a:gd name="T21" fmla="*/ 13 h 35"/>
                <a:gd name="T22" fmla="*/ 65 w 67"/>
                <a:gd name="T23" fmla="*/ 14 h 35"/>
                <a:gd name="T24" fmla="*/ 8 w 67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35">
                  <a:moveTo>
                    <a:pt x="8" y="35"/>
                  </a:moveTo>
                  <a:cubicBezTo>
                    <a:pt x="7" y="35"/>
                    <a:pt x="6" y="35"/>
                    <a:pt x="5" y="35"/>
                  </a:cubicBezTo>
                  <a:cubicBezTo>
                    <a:pt x="4" y="34"/>
                    <a:pt x="4" y="34"/>
                    <a:pt x="4" y="33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4"/>
                    <a:pt x="0" y="23"/>
                    <a:pt x="1" y="23"/>
                  </a:cubicBezTo>
                  <a:cubicBezTo>
                    <a:pt x="1" y="22"/>
                    <a:pt x="2" y="21"/>
                    <a:pt x="3" y="2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1" y="0"/>
                    <a:pt x="62" y="0"/>
                  </a:cubicBezTo>
                  <a:cubicBezTo>
                    <a:pt x="63" y="0"/>
                    <a:pt x="63" y="1"/>
                    <a:pt x="63" y="2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7" y="11"/>
                    <a:pt x="67" y="12"/>
                    <a:pt x="67" y="13"/>
                  </a:cubicBezTo>
                  <a:cubicBezTo>
                    <a:pt x="66" y="13"/>
                    <a:pt x="66" y="14"/>
                    <a:pt x="65" y="14"/>
                  </a:cubicBezTo>
                  <a:lnTo>
                    <a:pt x="8" y="35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iṩḷîḋê">
              <a:extLst>
                <a:ext uri="{FF2B5EF4-FFF2-40B4-BE49-F238E27FC236}">
                  <a16:creationId xmlns:a16="http://schemas.microsoft.com/office/drawing/2014/main" id="{5332135B-D55F-4877-8420-A1B34DC81FEC}"/>
                </a:ext>
              </a:extLst>
            </p:cNvPr>
            <p:cNvSpPr/>
            <p:nvPr/>
          </p:nvSpPr>
          <p:spPr bwMode="auto">
            <a:xfrm>
              <a:off x="9365657" y="3887301"/>
              <a:ext cx="104652" cy="54476"/>
            </a:xfrm>
            <a:custGeom>
              <a:avLst/>
              <a:gdLst>
                <a:gd name="T0" fmla="*/ 8 w 67"/>
                <a:gd name="T1" fmla="*/ 35 h 35"/>
                <a:gd name="T2" fmla="*/ 5 w 67"/>
                <a:gd name="T3" fmla="*/ 35 h 35"/>
                <a:gd name="T4" fmla="*/ 4 w 67"/>
                <a:gd name="T5" fmla="*/ 33 h 35"/>
                <a:gd name="T6" fmla="*/ 1 w 67"/>
                <a:gd name="T7" fmla="*/ 25 h 35"/>
                <a:gd name="T8" fmla="*/ 1 w 67"/>
                <a:gd name="T9" fmla="*/ 22 h 35"/>
                <a:gd name="T10" fmla="*/ 3 w 67"/>
                <a:gd name="T11" fmla="*/ 21 h 35"/>
                <a:gd name="T12" fmla="*/ 59 w 67"/>
                <a:gd name="T13" fmla="*/ 0 h 35"/>
                <a:gd name="T14" fmla="*/ 62 w 67"/>
                <a:gd name="T15" fmla="*/ 0 h 35"/>
                <a:gd name="T16" fmla="*/ 64 w 67"/>
                <a:gd name="T17" fmla="*/ 2 h 35"/>
                <a:gd name="T18" fmla="*/ 66 w 67"/>
                <a:gd name="T19" fmla="*/ 10 h 35"/>
                <a:gd name="T20" fmla="*/ 67 w 67"/>
                <a:gd name="T21" fmla="*/ 12 h 35"/>
                <a:gd name="T22" fmla="*/ 65 w 67"/>
                <a:gd name="T23" fmla="*/ 14 h 35"/>
                <a:gd name="T24" fmla="*/ 8 w 67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35">
                  <a:moveTo>
                    <a:pt x="8" y="35"/>
                  </a:moveTo>
                  <a:cubicBezTo>
                    <a:pt x="7" y="35"/>
                    <a:pt x="6" y="35"/>
                    <a:pt x="5" y="35"/>
                  </a:cubicBezTo>
                  <a:cubicBezTo>
                    <a:pt x="4" y="34"/>
                    <a:pt x="4" y="34"/>
                    <a:pt x="4" y="33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4"/>
                    <a:pt x="0" y="23"/>
                    <a:pt x="1" y="22"/>
                  </a:cubicBezTo>
                  <a:cubicBezTo>
                    <a:pt x="1" y="22"/>
                    <a:pt x="2" y="21"/>
                    <a:pt x="3" y="2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1" y="0"/>
                    <a:pt x="62" y="0"/>
                  </a:cubicBezTo>
                  <a:cubicBezTo>
                    <a:pt x="63" y="0"/>
                    <a:pt x="63" y="1"/>
                    <a:pt x="64" y="2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7" y="11"/>
                    <a:pt x="67" y="12"/>
                    <a:pt x="67" y="12"/>
                  </a:cubicBezTo>
                  <a:cubicBezTo>
                    <a:pt x="66" y="13"/>
                    <a:pt x="66" y="14"/>
                    <a:pt x="65" y="14"/>
                  </a:cubicBezTo>
                  <a:lnTo>
                    <a:pt x="8" y="35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ïŝľïdè">
              <a:extLst>
                <a:ext uri="{FF2B5EF4-FFF2-40B4-BE49-F238E27FC236}">
                  <a16:creationId xmlns:a16="http://schemas.microsoft.com/office/drawing/2014/main" id="{CA34935D-4EA3-46AF-B6D5-2F776D12FDB1}"/>
                </a:ext>
              </a:extLst>
            </p:cNvPr>
            <p:cNvSpPr/>
            <p:nvPr/>
          </p:nvSpPr>
          <p:spPr bwMode="auto">
            <a:xfrm>
              <a:off x="9382860" y="3930309"/>
              <a:ext cx="103219" cy="55911"/>
            </a:xfrm>
            <a:custGeom>
              <a:avLst/>
              <a:gdLst>
                <a:gd name="T0" fmla="*/ 8 w 66"/>
                <a:gd name="T1" fmla="*/ 35 h 36"/>
                <a:gd name="T2" fmla="*/ 5 w 66"/>
                <a:gd name="T3" fmla="*/ 35 h 36"/>
                <a:gd name="T4" fmla="*/ 3 w 66"/>
                <a:gd name="T5" fmla="*/ 33 h 36"/>
                <a:gd name="T6" fmla="*/ 0 w 66"/>
                <a:gd name="T7" fmla="*/ 25 h 36"/>
                <a:gd name="T8" fmla="*/ 0 w 66"/>
                <a:gd name="T9" fmla="*/ 23 h 36"/>
                <a:gd name="T10" fmla="*/ 2 w 66"/>
                <a:gd name="T11" fmla="*/ 21 h 36"/>
                <a:gd name="T12" fmla="*/ 59 w 66"/>
                <a:gd name="T13" fmla="*/ 0 h 36"/>
                <a:gd name="T14" fmla="*/ 61 w 66"/>
                <a:gd name="T15" fmla="*/ 0 h 36"/>
                <a:gd name="T16" fmla="*/ 63 w 66"/>
                <a:gd name="T17" fmla="*/ 2 h 36"/>
                <a:gd name="T18" fmla="*/ 66 w 66"/>
                <a:gd name="T19" fmla="*/ 10 h 36"/>
                <a:gd name="T20" fmla="*/ 66 w 66"/>
                <a:gd name="T21" fmla="*/ 13 h 36"/>
                <a:gd name="T22" fmla="*/ 64 w 66"/>
                <a:gd name="T23" fmla="*/ 15 h 36"/>
                <a:gd name="T24" fmla="*/ 8 w 66"/>
                <a:gd name="T25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36">
                  <a:moveTo>
                    <a:pt x="8" y="35"/>
                  </a:moveTo>
                  <a:cubicBezTo>
                    <a:pt x="7" y="36"/>
                    <a:pt x="6" y="36"/>
                    <a:pt x="5" y="35"/>
                  </a:cubicBezTo>
                  <a:cubicBezTo>
                    <a:pt x="4" y="35"/>
                    <a:pt x="3" y="34"/>
                    <a:pt x="3" y="3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4"/>
                    <a:pt x="0" y="24"/>
                    <a:pt x="0" y="23"/>
                  </a:cubicBezTo>
                  <a:cubicBezTo>
                    <a:pt x="1" y="22"/>
                    <a:pt x="1" y="22"/>
                    <a:pt x="2" y="2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0" y="0"/>
                    <a:pt x="61" y="0"/>
                    <a:pt x="61" y="0"/>
                  </a:cubicBezTo>
                  <a:cubicBezTo>
                    <a:pt x="62" y="1"/>
                    <a:pt x="63" y="1"/>
                    <a:pt x="63" y="2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11"/>
                    <a:pt x="66" y="12"/>
                    <a:pt x="66" y="13"/>
                  </a:cubicBezTo>
                  <a:cubicBezTo>
                    <a:pt x="66" y="14"/>
                    <a:pt x="65" y="14"/>
                    <a:pt x="64" y="15"/>
                  </a:cubicBezTo>
                  <a:lnTo>
                    <a:pt x="8" y="35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íŝlïḍe">
              <a:extLst>
                <a:ext uri="{FF2B5EF4-FFF2-40B4-BE49-F238E27FC236}">
                  <a16:creationId xmlns:a16="http://schemas.microsoft.com/office/drawing/2014/main" id="{A59543CC-90EC-4DC4-8ABF-51CA70940799}"/>
                </a:ext>
              </a:extLst>
            </p:cNvPr>
            <p:cNvSpPr/>
            <p:nvPr/>
          </p:nvSpPr>
          <p:spPr bwMode="auto">
            <a:xfrm>
              <a:off x="9626570" y="3819922"/>
              <a:ext cx="103219" cy="55911"/>
            </a:xfrm>
            <a:custGeom>
              <a:avLst/>
              <a:gdLst>
                <a:gd name="T0" fmla="*/ 8 w 67"/>
                <a:gd name="T1" fmla="*/ 36 h 36"/>
                <a:gd name="T2" fmla="*/ 5 w 67"/>
                <a:gd name="T3" fmla="*/ 36 h 36"/>
                <a:gd name="T4" fmla="*/ 3 w 67"/>
                <a:gd name="T5" fmla="*/ 34 h 36"/>
                <a:gd name="T6" fmla="*/ 0 w 67"/>
                <a:gd name="T7" fmla="*/ 26 h 36"/>
                <a:gd name="T8" fmla="*/ 0 w 67"/>
                <a:gd name="T9" fmla="*/ 23 h 36"/>
                <a:gd name="T10" fmla="*/ 3 w 67"/>
                <a:gd name="T11" fmla="*/ 22 h 36"/>
                <a:gd name="T12" fmla="*/ 59 w 67"/>
                <a:gd name="T13" fmla="*/ 1 h 36"/>
                <a:gd name="T14" fmla="*/ 62 w 67"/>
                <a:gd name="T15" fmla="*/ 1 h 36"/>
                <a:gd name="T16" fmla="*/ 63 w 67"/>
                <a:gd name="T17" fmla="*/ 3 h 36"/>
                <a:gd name="T18" fmla="*/ 66 w 67"/>
                <a:gd name="T19" fmla="*/ 10 h 36"/>
                <a:gd name="T20" fmla="*/ 66 w 67"/>
                <a:gd name="T21" fmla="*/ 13 h 36"/>
                <a:gd name="T22" fmla="*/ 64 w 67"/>
                <a:gd name="T23" fmla="*/ 15 h 36"/>
                <a:gd name="T24" fmla="*/ 8 w 67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36">
                  <a:moveTo>
                    <a:pt x="8" y="36"/>
                  </a:moveTo>
                  <a:cubicBezTo>
                    <a:pt x="7" y="36"/>
                    <a:pt x="6" y="36"/>
                    <a:pt x="5" y="36"/>
                  </a:cubicBezTo>
                  <a:cubicBezTo>
                    <a:pt x="4" y="35"/>
                    <a:pt x="4" y="34"/>
                    <a:pt x="3" y="3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4"/>
                    <a:pt x="0" y="23"/>
                  </a:cubicBezTo>
                  <a:cubicBezTo>
                    <a:pt x="1" y="22"/>
                    <a:pt x="2" y="22"/>
                    <a:pt x="3" y="22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0"/>
                    <a:pt x="61" y="0"/>
                    <a:pt x="62" y="1"/>
                  </a:cubicBezTo>
                  <a:cubicBezTo>
                    <a:pt x="62" y="1"/>
                    <a:pt x="63" y="2"/>
                    <a:pt x="63" y="3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11"/>
                    <a:pt x="67" y="12"/>
                    <a:pt x="66" y="13"/>
                  </a:cubicBezTo>
                  <a:cubicBezTo>
                    <a:pt x="66" y="14"/>
                    <a:pt x="65" y="15"/>
                    <a:pt x="64" y="15"/>
                  </a:cubicBezTo>
                  <a:lnTo>
                    <a:pt x="8" y="36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íṣḻíḓê">
              <a:extLst>
                <a:ext uri="{FF2B5EF4-FFF2-40B4-BE49-F238E27FC236}">
                  <a16:creationId xmlns:a16="http://schemas.microsoft.com/office/drawing/2014/main" id="{FB1AC5B4-170E-4373-A5C9-5882C586A401}"/>
                </a:ext>
              </a:extLst>
            </p:cNvPr>
            <p:cNvSpPr/>
            <p:nvPr/>
          </p:nvSpPr>
          <p:spPr bwMode="auto">
            <a:xfrm>
              <a:off x="9653808" y="3805586"/>
              <a:ext cx="28672" cy="28672"/>
            </a:xfrm>
            <a:custGeom>
              <a:avLst/>
              <a:gdLst>
                <a:gd name="T0" fmla="*/ 1 w 18"/>
                <a:gd name="T1" fmla="*/ 12 h 18"/>
                <a:gd name="T2" fmla="*/ 12 w 18"/>
                <a:gd name="T3" fmla="*/ 17 h 18"/>
                <a:gd name="T4" fmla="*/ 16 w 18"/>
                <a:gd name="T5" fmla="*/ 6 h 18"/>
                <a:gd name="T6" fmla="*/ 6 w 18"/>
                <a:gd name="T7" fmla="*/ 1 h 18"/>
                <a:gd name="T8" fmla="*/ 1 w 18"/>
                <a:gd name="T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" y="12"/>
                  </a:moveTo>
                  <a:cubicBezTo>
                    <a:pt x="3" y="16"/>
                    <a:pt x="7" y="18"/>
                    <a:pt x="12" y="17"/>
                  </a:cubicBezTo>
                  <a:cubicBezTo>
                    <a:pt x="16" y="15"/>
                    <a:pt x="18" y="11"/>
                    <a:pt x="16" y="6"/>
                  </a:cubicBezTo>
                  <a:cubicBezTo>
                    <a:pt x="14" y="2"/>
                    <a:pt x="10" y="0"/>
                    <a:pt x="6" y="1"/>
                  </a:cubicBezTo>
                  <a:cubicBezTo>
                    <a:pt x="2" y="3"/>
                    <a:pt x="0" y="7"/>
                    <a:pt x="1" y="12"/>
                  </a:cubicBez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iŝľídè">
              <a:extLst>
                <a:ext uri="{FF2B5EF4-FFF2-40B4-BE49-F238E27FC236}">
                  <a16:creationId xmlns:a16="http://schemas.microsoft.com/office/drawing/2014/main" id="{729CA519-D824-41B0-A15D-23D3CE87B284}"/>
                </a:ext>
              </a:extLst>
            </p:cNvPr>
            <p:cNvSpPr/>
            <p:nvPr/>
          </p:nvSpPr>
          <p:spPr bwMode="auto">
            <a:xfrm>
              <a:off x="9673878" y="3861496"/>
              <a:ext cx="28672" cy="30106"/>
            </a:xfrm>
            <a:custGeom>
              <a:avLst/>
              <a:gdLst>
                <a:gd name="T0" fmla="*/ 2 w 18"/>
                <a:gd name="T1" fmla="*/ 12 h 19"/>
                <a:gd name="T2" fmla="*/ 12 w 18"/>
                <a:gd name="T3" fmla="*/ 17 h 19"/>
                <a:gd name="T4" fmla="*/ 16 w 18"/>
                <a:gd name="T5" fmla="*/ 7 h 19"/>
                <a:gd name="T6" fmla="*/ 6 w 18"/>
                <a:gd name="T7" fmla="*/ 2 h 19"/>
                <a:gd name="T8" fmla="*/ 2 w 18"/>
                <a:gd name="T9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2" y="12"/>
                  </a:moveTo>
                  <a:cubicBezTo>
                    <a:pt x="3" y="17"/>
                    <a:pt x="8" y="19"/>
                    <a:pt x="12" y="17"/>
                  </a:cubicBezTo>
                  <a:cubicBezTo>
                    <a:pt x="16" y="16"/>
                    <a:pt x="18" y="11"/>
                    <a:pt x="16" y="7"/>
                  </a:cubicBezTo>
                  <a:cubicBezTo>
                    <a:pt x="15" y="3"/>
                    <a:pt x="10" y="0"/>
                    <a:pt x="6" y="2"/>
                  </a:cubicBezTo>
                  <a:cubicBezTo>
                    <a:pt x="2" y="3"/>
                    <a:pt x="0" y="8"/>
                    <a:pt x="2" y="12"/>
                  </a:cubicBez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í$ḻíḑê">
              <a:extLst>
                <a:ext uri="{FF2B5EF4-FFF2-40B4-BE49-F238E27FC236}">
                  <a16:creationId xmlns:a16="http://schemas.microsoft.com/office/drawing/2014/main" id="{5B5B9BC8-FE36-436D-B591-FCC304428C18}"/>
                </a:ext>
              </a:extLst>
            </p:cNvPr>
            <p:cNvSpPr/>
            <p:nvPr/>
          </p:nvSpPr>
          <p:spPr bwMode="auto">
            <a:xfrm>
              <a:off x="9058868" y="3204912"/>
              <a:ext cx="630780" cy="367000"/>
            </a:xfrm>
            <a:custGeom>
              <a:avLst/>
              <a:gdLst>
                <a:gd name="T0" fmla="*/ 35 w 406"/>
                <a:gd name="T1" fmla="*/ 236 h 236"/>
                <a:gd name="T2" fmla="*/ 406 w 406"/>
                <a:gd name="T3" fmla="*/ 102 h 236"/>
                <a:gd name="T4" fmla="*/ 374 w 406"/>
                <a:gd name="T5" fmla="*/ 16 h 236"/>
                <a:gd name="T6" fmla="*/ 347 w 406"/>
                <a:gd name="T7" fmla="*/ 4 h 236"/>
                <a:gd name="T8" fmla="*/ 17 w 406"/>
                <a:gd name="T9" fmla="*/ 125 h 236"/>
                <a:gd name="T10" fmla="*/ 4 w 406"/>
                <a:gd name="T11" fmla="*/ 152 h 236"/>
                <a:gd name="T12" fmla="*/ 35 w 406"/>
                <a:gd name="T13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6" h="236">
                  <a:moveTo>
                    <a:pt x="35" y="236"/>
                  </a:moveTo>
                  <a:cubicBezTo>
                    <a:pt x="406" y="102"/>
                    <a:pt x="406" y="102"/>
                    <a:pt x="406" y="102"/>
                  </a:cubicBezTo>
                  <a:cubicBezTo>
                    <a:pt x="374" y="16"/>
                    <a:pt x="374" y="16"/>
                    <a:pt x="374" y="16"/>
                  </a:cubicBezTo>
                  <a:cubicBezTo>
                    <a:pt x="370" y="5"/>
                    <a:pt x="358" y="0"/>
                    <a:pt x="347" y="4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6" y="129"/>
                    <a:pt x="0" y="141"/>
                    <a:pt x="4" y="152"/>
                  </a:cubicBezTo>
                  <a:lnTo>
                    <a:pt x="35" y="236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îṥļíḓé">
              <a:extLst>
                <a:ext uri="{FF2B5EF4-FFF2-40B4-BE49-F238E27FC236}">
                  <a16:creationId xmlns:a16="http://schemas.microsoft.com/office/drawing/2014/main" id="{C9F16F10-2517-4396-87B1-A691CDB45922}"/>
                </a:ext>
              </a:extLst>
            </p:cNvPr>
            <p:cNvSpPr/>
            <p:nvPr/>
          </p:nvSpPr>
          <p:spPr bwMode="auto">
            <a:xfrm>
              <a:off x="9133415" y="3302396"/>
              <a:ext cx="506058" cy="280983"/>
            </a:xfrm>
            <a:custGeom>
              <a:avLst/>
              <a:gdLst>
                <a:gd name="T0" fmla="*/ 28 w 353"/>
                <a:gd name="T1" fmla="*/ 196 h 196"/>
                <a:gd name="T2" fmla="*/ 353 w 353"/>
                <a:gd name="T3" fmla="*/ 77 h 196"/>
                <a:gd name="T4" fmla="*/ 326 w 353"/>
                <a:gd name="T5" fmla="*/ 0 h 196"/>
                <a:gd name="T6" fmla="*/ 0 w 353"/>
                <a:gd name="T7" fmla="*/ 121 h 196"/>
                <a:gd name="T8" fmla="*/ 28 w 353"/>
                <a:gd name="T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196">
                  <a:moveTo>
                    <a:pt x="28" y="196"/>
                  </a:moveTo>
                  <a:lnTo>
                    <a:pt x="353" y="77"/>
                  </a:lnTo>
                  <a:lnTo>
                    <a:pt x="326" y="0"/>
                  </a:lnTo>
                  <a:lnTo>
                    <a:pt x="0" y="121"/>
                  </a:lnTo>
                  <a:lnTo>
                    <a:pt x="28" y="1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îṧļïḑe">
              <a:extLst>
                <a:ext uri="{FF2B5EF4-FFF2-40B4-BE49-F238E27FC236}">
                  <a16:creationId xmlns:a16="http://schemas.microsoft.com/office/drawing/2014/main" id="{F2BA5D68-6116-44FB-ACD8-2678CE387C91}"/>
                </a:ext>
              </a:extLst>
            </p:cNvPr>
            <p:cNvSpPr/>
            <p:nvPr/>
          </p:nvSpPr>
          <p:spPr bwMode="auto">
            <a:xfrm>
              <a:off x="9557758" y="3451489"/>
              <a:ext cx="668054" cy="566268"/>
            </a:xfrm>
            <a:custGeom>
              <a:avLst/>
              <a:gdLst>
                <a:gd name="T0" fmla="*/ 411 w 466"/>
                <a:gd name="T1" fmla="*/ 0 h 395"/>
                <a:gd name="T2" fmla="*/ 458 w 466"/>
                <a:gd name="T3" fmla="*/ 25 h 395"/>
                <a:gd name="T4" fmla="*/ 466 w 466"/>
                <a:gd name="T5" fmla="*/ 99 h 395"/>
                <a:gd name="T6" fmla="*/ 414 w 466"/>
                <a:gd name="T7" fmla="*/ 285 h 395"/>
                <a:gd name="T8" fmla="*/ 107 w 466"/>
                <a:gd name="T9" fmla="*/ 377 h 395"/>
                <a:gd name="T10" fmla="*/ 18 w 466"/>
                <a:gd name="T11" fmla="*/ 395 h 395"/>
                <a:gd name="T12" fmla="*/ 0 w 466"/>
                <a:gd name="T13" fmla="*/ 372 h 395"/>
                <a:gd name="T14" fmla="*/ 16 w 466"/>
                <a:gd name="T15" fmla="*/ 345 h 395"/>
                <a:gd name="T16" fmla="*/ 54 w 466"/>
                <a:gd name="T17" fmla="*/ 335 h 395"/>
                <a:gd name="T18" fmla="*/ 51 w 466"/>
                <a:gd name="T19" fmla="*/ 312 h 395"/>
                <a:gd name="T20" fmla="*/ 92 w 466"/>
                <a:gd name="T21" fmla="*/ 319 h 395"/>
                <a:gd name="T22" fmla="*/ 338 w 466"/>
                <a:gd name="T23" fmla="*/ 227 h 395"/>
                <a:gd name="T24" fmla="*/ 381 w 466"/>
                <a:gd name="T25" fmla="*/ 71 h 395"/>
                <a:gd name="T26" fmla="*/ 411 w 466"/>
                <a:gd name="T27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6" h="395">
                  <a:moveTo>
                    <a:pt x="411" y="0"/>
                  </a:moveTo>
                  <a:lnTo>
                    <a:pt x="458" y="25"/>
                  </a:lnTo>
                  <a:lnTo>
                    <a:pt x="466" y="99"/>
                  </a:lnTo>
                  <a:lnTo>
                    <a:pt x="414" y="285"/>
                  </a:lnTo>
                  <a:lnTo>
                    <a:pt x="107" y="377"/>
                  </a:lnTo>
                  <a:lnTo>
                    <a:pt x="18" y="395"/>
                  </a:lnTo>
                  <a:lnTo>
                    <a:pt x="0" y="372"/>
                  </a:lnTo>
                  <a:lnTo>
                    <a:pt x="16" y="345"/>
                  </a:lnTo>
                  <a:lnTo>
                    <a:pt x="54" y="335"/>
                  </a:lnTo>
                  <a:lnTo>
                    <a:pt x="51" y="312"/>
                  </a:lnTo>
                  <a:lnTo>
                    <a:pt x="92" y="319"/>
                  </a:lnTo>
                  <a:lnTo>
                    <a:pt x="338" y="227"/>
                  </a:lnTo>
                  <a:lnTo>
                    <a:pt x="381" y="71"/>
                  </a:lnTo>
                  <a:lnTo>
                    <a:pt x="411" y="0"/>
                  </a:lnTo>
                  <a:close/>
                </a:path>
              </a:pathLst>
            </a:custGeom>
            <a:solidFill>
              <a:srgbClr val="E8C8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ï$ļïďe">
              <a:extLst>
                <a:ext uri="{FF2B5EF4-FFF2-40B4-BE49-F238E27FC236}">
                  <a16:creationId xmlns:a16="http://schemas.microsoft.com/office/drawing/2014/main" id="{E648FC8A-F56C-404A-9CCB-AAD5E92BDC99}"/>
                </a:ext>
              </a:extLst>
            </p:cNvPr>
            <p:cNvSpPr/>
            <p:nvPr/>
          </p:nvSpPr>
          <p:spPr bwMode="auto">
            <a:xfrm>
              <a:off x="6509944" y="4619866"/>
              <a:ext cx="329726" cy="1121068"/>
            </a:xfrm>
            <a:custGeom>
              <a:avLst/>
              <a:gdLst>
                <a:gd name="T0" fmla="*/ 230 w 230"/>
                <a:gd name="T1" fmla="*/ 84 h 782"/>
                <a:gd name="T2" fmla="*/ 0 w 230"/>
                <a:gd name="T3" fmla="*/ 0 h 782"/>
                <a:gd name="T4" fmla="*/ 48 w 230"/>
                <a:gd name="T5" fmla="*/ 401 h 782"/>
                <a:gd name="T6" fmla="*/ 16 w 230"/>
                <a:gd name="T7" fmla="*/ 774 h 782"/>
                <a:gd name="T8" fmla="*/ 15 w 230"/>
                <a:gd name="T9" fmla="*/ 776 h 782"/>
                <a:gd name="T10" fmla="*/ 15 w 230"/>
                <a:gd name="T11" fmla="*/ 776 h 782"/>
                <a:gd name="T12" fmla="*/ 15 w 230"/>
                <a:gd name="T13" fmla="*/ 777 h 782"/>
                <a:gd name="T14" fmla="*/ 61 w 230"/>
                <a:gd name="T15" fmla="*/ 782 h 782"/>
                <a:gd name="T16" fmla="*/ 61 w 230"/>
                <a:gd name="T17" fmla="*/ 782 h 782"/>
                <a:gd name="T18" fmla="*/ 63 w 230"/>
                <a:gd name="T19" fmla="*/ 782 h 782"/>
                <a:gd name="T20" fmla="*/ 168 w 230"/>
                <a:gd name="T21" fmla="*/ 447 h 782"/>
                <a:gd name="T22" fmla="*/ 221 w 230"/>
                <a:gd name="T23" fmla="*/ 118 h 782"/>
                <a:gd name="T24" fmla="*/ 230 w 230"/>
                <a:gd name="T25" fmla="*/ 84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0" h="782">
                  <a:moveTo>
                    <a:pt x="230" y="84"/>
                  </a:moveTo>
                  <a:lnTo>
                    <a:pt x="0" y="0"/>
                  </a:lnTo>
                  <a:lnTo>
                    <a:pt x="48" y="401"/>
                  </a:lnTo>
                  <a:lnTo>
                    <a:pt x="16" y="774"/>
                  </a:lnTo>
                  <a:lnTo>
                    <a:pt x="15" y="776"/>
                  </a:lnTo>
                  <a:lnTo>
                    <a:pt x="15" y="776"/>
                  </a:lnTo>
                  <a:lnTo>
                    <a:pt x="15" y="777"/>
                  </a:lnTo>
                  <a:lnTo>
                    <a:pt x="61" y="782"/>
                  </a:lnTo>
                  <a:lnTo>
                    <a:pt x="61" y="782"/>
                  </a:lnTo>
                  <a:lnTo>
                    <a:pt x="63" y="782"/>
                  </a:lnTo>
                  <a:lnTo>
                    <a:pt x="168" y="447"/>
                  </a:lnTo>
                  <a:lnTo>
                    <a:pt x="221" y="118"/>
                  </a:lnTo>
                  <a:lnTo>
                    <a:pt x="230" y="84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iŝḷîḓé">
              <a:extLst>
                <a:ext uri="{FF2B5EF4-FFF2-40B4-BE49-F238E27FC236}">
                  <a16:creationId xmlns:a16="http://schemas.microsoft.com/office/drawing/2014/main" id="{B84BF07A-0AFF-4AB6-8EAC-C9FB34D2534D}"/>
                </a:ext>
              </a:extLst>
            </p:cNvPr>
            <p:cNvSpPr/>
            <p:nvPr/>
          </p:nvSpPr>
          <p:spPr bwMode="auto">
            <a:xfrm>
              <a:off x="6515678" y="5723730"/>
              <a:ext cx="172031" cy="130457"/>
            </a:xfrm>
            <a:custGeom>
              <a:avLst/>
              <a:gdLst>
                <a:gd name="T0" fmla="*/ 59 w 120"/>
                <a:gd name="T1" fmla="*/ 2 h 91"/>
                <a:gd name="T2" fmla="*/ 12 w 120"/>
                <a:gd name="T3" fmla="*/ 0 h 91"/>
                <a:gd name="T4" fmla="*/ 0 w 120"/>
                <a:gd name="T5" fmla="*/ 40 h 91"/>
                <a:gd name="T6" fmla="*/ 1 w 120"/>
                <a:gd name="T7" fmla="*/ 40 h 91"/>
                <a:gd name="T8" fmla="*/ 0 w 120"/>
                <a:gd name="T9" fmla="*/ 40 h 91"/>
                <a:gd name="T10" fmla="*/ 79 w 120"/>
                <a:gd name="T11" fmla="*/ 86 h 91"/>
                <a:gd name="T12" fmla="*/ 115 w 120"/>
                <a:gd name="T13" fmla="*/ 91 h 91"/>
                <a:gd name="T14" fmla="*/ 120 w 120"/>
                <a:gd name="T15" fmla="*/ 48 h 91"/>
                <a:gd name="T16" fmla="*/ 110 w 120"/>
                <a:gd name="T17" fmla="*/ 41 h 91"/>
                <a:gd name="T18" fmla="*/ 59 w 120"/>
                <a:gd name="T19" fmla="*/ 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91">
                  <a:moveTo>
                    <a:pt x="59" y="2"/>
                  </a:moveTo>
                  <a:lnTo>
                    <a:pt x="12" y="0"/>
                  </a:lnTo>
                  <a:lnTo>
                    <a:pt x="0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79" y="86"/>
                  </a:lnTo>
                  <a:lnTo>
                    <a:pt x="115" y="91"/>
                  </a:lnTo>
                  <a:lnTo>
                    <a:pt x="120" y="48"/>
                  </a:lnTo>
                  <a:lnTo>
                    <a:pt x="110" y="41"/>
                  </a:lnTo>
                  <a:lnTo>
                    <a:pt x="59" y="2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îṡḷiḑê">
              <a:extLst>
                <a:ext uri="{FF2B5EF4-FFF2-40B4-BE49-F238E27FC236}">
                  <a16:creationId xmlns:a16="http://schemas.microsoft.com/office/drawing/2014/main" id="{0260186A-E821-4B3D-B0BC-86031C478C46}"/>
                </a:ext>
              </a:extLst>
            </p:cNvPr>
            <p:cNvSpPr/>
            <p:nvPr/>
          </p:nvSpPr>
          <p:spPr bwMode="auto">
            <a:xfrm>
              <a:off x="6722115" y="4675776"/>
              <a:ext cx="341195" cy="1103865"/>
            </a:xfrm>
            <a:custGeom>
              <a:avLst/>
              <a:gdLst>
                <a:gd name="T0" fmla="*/ 238 w 238"/>
                <a:gd name="T1" fmla="*/ 52 h 770"/>
                <a:gd name="T2" fmla="*/ 167 w 238"/>
                <a:gd name="T3" fmla="*/ 767 h 770"/>
                <a:gd name="T4" fmla="*/ 122 w 238"/>
                <a:gd name="T5" fmla="*/ 770 h 770"/>
                <a:gd name="T6" fmla="*/ 78 w 238"/>
                <a:gd name="T7" fmla="*/ 371 h 770"/>
                <a:gd name="T8" fmla="*/ 0 w 238"/>
                <a:gd name="T9" fmla="*/ 0 h 770"/>
                <a:gd name="T10" fmla="*/ 238 w 238"/>
                <a:gd name="T11" fmla="*/ 52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8" h="770">
                  <a:moveTo>
                    <a:pt x="238" y="52"/>
                  </a:moveTo>
                  <a:lnTo>
                    <a:pt x="167" y="767"/>
                  </a:lnTo>
                  <a:lnTo>
                    <a:pt x="122" y="770"/>
                  </a:lnTo>
                  <a:lnTo>
                    <a:pt x="78" y="371"/>
                  </a:lnTo>
                  <a:lnTo>
                    <a:pt x="0" y="0"/>
                  </a:lnTo>
                  <a:lnTo>
                    <a:pt x="238" y="52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íS1ídê">
              <a:extLst>
                <a:ext uri="{FF2B5EF4-FFF2-40B4-BE49-F238E27FC236}">
                  <a16:creationId xmlns:a16="http://schemas.microsoft.com/office/drawing/2014/main" id="{6C3DB084-0A69-4245-AD29-002598AE2A71}"/>
                </a:ext>
              </a:extLst>
            </p:cNvPr>
            <p:cNvSpPr/>
            <p:nvPr/>
          </p:nvSpPr>
          <p:spPr bwMode="auto">
            <a:xfrm>
              <a:off x="6888412" y="5759570"/>
              <a:ext cx="163429" cy="88882"/>
            </a:xfrm>
            <a:custGeom>
              <a:avLst/>
              <a:gdLst>
                <a:gd name="T0" fmla="*/ 53 w 114"/>
                <a:gd name="T1" fmla="*/ 0 h 62"/>
                <a:gd name="T2" fmla="*/ 114 w 114"/>
                <a:gd name="T3" fmla="*/ 34 h 62"/>
                <a:gd name="T4" fmla="*/ 108 w 114"/>
                <a:gd name="T5" fmla="*/ 62 h 62"/>
                <a:gd name="T6" fmla="*/ 0 w 114"/>
                <a:gd name="T7" fmla="*/ 46 h 62"/>
                <a:gd name="T8" fmla="*/ 6 w 114"/>
                <a:gd name="T9" fmla="*/ 5 h 62"/>
                <a:gd name="T10" fmla="*/ 53 w 114"/>
                <a:gd name="T11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62">
                  <a:moveTo>
                    <a:pt x="53" y="0"/>
                  </a:moveTo>
                  <a:lnTo>
                    <a:pt x="114" y="34"/>
                  </a:lnTo>
                  <a:lnTo>
                    <a:pt x="108" y="62"/>
                  </a:lnTo>
                  <a:lnTo>
                    <a:pt x="0" y="46"/>
                  </a:lnTo>
                  <a:lnTo>
                    <a:pt x="6" y="5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şḷíďê">
              <a:extLst>
                <a:ext uri="{FF2B5EF4-FFF2-40B4-BE49-F238E27FC236}">
                  <a16:creationId xmlns:a16="http://schemas.microsoft.com/office/drawing/2014/main" id="{1E2217A2-EE0B-442F-B052-91B2B7C0C8A3}"/>
                </a:ext>
              </a:extLst>
            </p:cNvPr>
            <p:cNvSpPr/>
            <p:nvPr/>
          </p:nvSpPr>
          <p:spPr bwMode="auto">
            <a:xfrm>
              <a:off x="6251897" y="3709535"/>
              <a:ext cx="987745" cy="1344708"/>
            </a:xfrm>
            <a:custGeom>
              <a:avLst/>
              <a:gdLst>
                <a:gd name="T0" fmla="*/ 621 w 635"/>
                <a:gd name="T1" fmla="*/ 829 h 865"/>
                <a:gd name="T2" fmla="*/ 635 w 635"/>
                <a:gd name="T3" fmla="*/ 787 h 865"/>
                <a:gd name="T4" fmla="*/ 622 w 635"/>
                <a:gd name="T5" fmla="*/ 696 h 865"/>
                <a:gd name="T6" fmla="*/ 587 w 635"/>
                <a:gd name="T7" fmla="*/ 502 h 865"/>
                <a:gd name="T8" fmla="*/ 511 w 635"/>
                <a:gd name="T9" fmla="*/ 191 h 865"/>
                <a:gd name="T10" fmla="*/ 493 w 635"/>
                <a:gd name="T11" fmla="*/ 141 h 865"/>
                <a:gd name="T12" fmla="*/ 481 w 635"/>
                <a:gd name="T13" fmla="*/ 121 h 865"/>
                <a:gd name="T14" fmla="*/ 372 w 635"/>
                <a:gd name="T15" fmla="*/ 11 h 865"/>
                <a:gd name="T16" fmla="*/ 369 w 635"/>
                <a:gd name="T17" fmla="*/ 10 h 865"/>
                <a:gd name="T18" fmla="*/ 222 w 635"/>
                <a:gd name="T19" fmla="*/ 27 h 865"/>
                <a:gd name="T20" fmla="*/ 200 w 635"/>
                <a:gd name="T21" fmla="*/ 43 h 865"/>
                <a:gd name="T22" fmla="*/ 154 w 635"/>
                <a:gd name="T23" fmla="*/ 93 h 865"/>
                <a:gd name="T24" fmla="*/ 141 w 635"/>
                <a:gd name="T25" fmla="*/ 161 h 865"/>
                <a:gd name="T26" fmla="*/ 120 w 635"/>
                <a:gd name="T27" fmla="*/ 300 h 865"/>
                <a:gd name="T28" fmla="*/ 83 w 635"/>
                <a:gd name="T29" fmla="*/ 560 h 865"/>
                <a:gd name="T30" fmla="*/ 65 w 635"/>
                <a:gd name="T31" fmla="*/ 693 h 865"/>
                <a:gd name="T32" fmla="*/ 7 w 635"/>
                <a:gd name="T33" fmla="*/ 809 h 865"/>
                <a:gd name="T34" fmla="*/ 109 w 635"/>
                <a:gd name="T35" fmla="*/ 856 h 865"/>
                <a:gd name="T36" fmla="*/ 238 w 635"/>
                <a:gd name="T37" fmla="*/ 863 h 865"/>
                <a:gd name="T38" fmla="*/ 521 w 635"/>
                <a:gd name="T39" fmla="*/ 854 h 865"/>
                <a:gd name="T40" fmla="*/ 619 w 635"/>
                <a:gd name="T41" fmla="*/ 831 h 865"/>
                <a:gd name="T42" fmla="*/ 621 w 635"/>
                <a:gd name="T43" fmla="*/ 829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5" h="865">
                  <a:moveTo>
                    <a:pt x="621" y="829"/>
                  </a:moveTo>
                  <a:cubicBezTo>
                    <a:pt x="635" y="820"/>
                    <a:pt x="635" y="804"/>
                    <a:pt x="635" y="787"/>
                  </a:cubicBezTo>
                  <a:cubicBezTo>
                    <a:pt x="635" y="757"/>
                    <a:pt x="629" y="726"/>
                    <a:pt x="622" y="696"/>
                  </a:cubicBezTo>
                  <a:cubicBezTo>
                    <a:pt x="609" y="641"/>
                    <a:pt x="594" y="574"/>
                    <a:pt x="587" y="502"/>
                  </a:cubicBezTo>
                  <a:cubicBezTo>
                    <a:pt x="570" y="316"/>
                    <a:pt x="511" y="191"/>
                    <a:pt x="511" y="191"/>
                  </a:cubicBezTo>
                  <a:cubicBezTo>
                    <a:pt x="493" y="141"/>
                    <a:pt x="493" y="141"/>
                    <a:pt x="493" y="141"/>
                  </a:cubicBezTo>
                  <a:cubicBezTo>
                    <a:pt x="489" y="134"/>
                    <a:pt x="485" y="128"/>
                    <a:pt x="481" y="121"/>
                  </a:cubicBezTo>
                  <a:cubicBezTo>
                    <a:pt x="457" y="84"/>
                    <a:pt x="416" y="21"/>
                    <a:pt x="372" y="11"/>
                  </a:cubicBezTo>
                  <a:cubicBezTo>
                    <a:pt x="371" y="11"/>
                    <a:pt x="370" y="10"/>
                    <a:pt x="369" y="10"/>
                  </a:cubicBezTo>
                  <a:cubicBezTo>
                    <a:pt x="323" y="0"/>
                    <a:pt x="264" y="5"/>
                    <a:pt x="222" y="27"/>
                  </a:cubicBezTo>
                  <a:cubicBezTo>
                    <a:pt x="214" y="32"/>
                    <a:pt x="207" y="37"/>
                    <a:pt x="200" y="43"/>
                  </a:cubicBezTo>
                  <a:cubicBezTo>
                    <a:pt x="180" y="59"/>
                    <a:pt x="163" y="68"/>
                    <a:pt x="154" y="93"/>
                  </a:cubicBezTo>
                  <a:cubicBezTo>
                    <a:pt x="147" y="115"/>
                    <a:pt x="145" y="139"/>
                    <a:pt x="141" y="161"/>
                  </a:cubicBezTo>
                  <a:cubicBezTo>
                    <a:pt x="132" y="207"/>
                    <a:pt x="127" y="254"/>
                    <a:pt x="120" y="300"/>
                  </a:cubicBezTo>
                  <a:cubicBezTo>
                    <a:pt x="108" y="386"/>
                    <a:pt x="97" y="473"/>
                    <a:pt x="83" y="560"/>
                  </a:cubicBezTo>
                  <a:cubicBezTo>
                    <a:pt x="76" y="604"/>
                    <a:pt x="69" y="649"/>
                    <a:pt x="65" y="693"/>
                  </a:cubicBezTo>
                  <a:cubicBezTo>
                    <a:pt x="62" y="733"/>
                    <a:pt x="27" y="773"/>
                    <a:pt x="7" y="809"/>
                  </a:cubicBezTo>
                  <a:cubicBezTo>
                    <a:pt x="0" y="821"/>
                    <a:pt x="100" y="854"/>
                    <a:pt x="109" y="856"/>
                  </a:cubicBezTo>
                  <a:cubicBezTo>
                    <a:pt x="151" y="865"/>
                    <a:pt x="195" y="863"/>
                    <a:pt x="238" y="863"/>
                  </a:cubicBezTo>
                  <a:cubicBezTo>
                    <a:pt x="333" y="864"/>
                    <a:pt x="427" y="861"/>
                    <a:pt x="521" y="854"/>
                  </a:cubicBezTo>
                  <a:cubicBezTo>
                    <a:pt x="552" y="852"/>
                    <a:pt x="591" y="846"/>
                    <a:pt x="619" y="831"/>
                  </a:cubicBezTo>
                  <a:cubicBezTo>
                    <a:pt x="619" y="830"/>
                    <a:pt x="620" y="830"/>
                    <a:pt x="621" y="829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íS1íḍê">
              <a:extLst>
                <a:ext uri="{FF2B5EF4-FFF2-40B4-BE49-F238E27FC236}">
                  <a16:creationId xmlns:a16="http://schemas.microsoft.com/office/drawing/2014/main" id="{67DA0CF8-2BCB-4754-8B08-3EC10B6C2726}"/>
                </a:ext>
              </a:extLst>
            </p:cNvPr>
            <p:cNvSpPr/>
            <p:nvPr/>
          </p:nvSpPr>
          <p:spPr bwMode="auto">
            <a:xfrm>
              <a:off x="6528580" y="3695200"/>
              <a:ext cx="541897" cy="1364778"/>
            </a:xfrm>
            <a:custGeom>
              <a:avLst/>
              <a:gdLst>
                <a:gd name="T0" fmla="*/ 140 w 348"/>
                <a:gd name="T1" fmla="*/ 14 h 878"/>
                <a:gd name="T2" fmla="*/ 79 w 348"/>
                <a:gd name="T3" fmla="*/ 120 h 878"/>
                <a:gd name="T4" fmla="*/ 42 w 348"/>
                <a:gd name="T5" fmla="*/ 626 h 878"/>
                <a:gd name="T6" fmla="*/ 0 w 348"/>
                <a:gd name="T7" fmla="*/ 872 h 878"/>
                <a:gd name="T8" fmla="*/ 162 w 348"/>
                <a:gd name="T9" fmla="*/ 878 h 878"/>
                <a:gd name="T10" fmla="*/ 348 w 348"/>
                <a:gd name="T11" fmla="*/ 863 h 878"/>
                <a:gd name="T12" fmla="*/ 275 w 348"/>
                <a:gd name="T13" fmla="*/ 663 h 878"/>
                <a:gd name="T14" fmla="*/ 241 w 348"/>
                <a:gd name="T15" fmla="*/ 149 h 878"/>
                <a:gd name="T16" fmla="*/ 140 w 348"/>
                <a:gd name="T17" fmla="*/ 14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8" h="878">
                  <a:moveTo>
                    <a:pt x="140" y="14"/>
                  </a:moveTo>
                  <a:cubicBezTo>
                    <a:pt x="140" y="14"/>
                    <a:pt x="86" y="0"/>
                    <a:pt x="79" y="120"/>
                  </a:cubicBezTo>
                  <a:cubicBezTo>
                    <a:pt x="72" y="240"/>
                    <a:pt x="60" y="543"/>
                    <a:pt x="42" y="626"/>
                  </a:cubicBezTo>
                  <a:cubicBezTo>
                    <a:pt x="25" y="709"/>
                    <a:pt x="0" y="872"/>
                    <a:pt x="0" y="872"/>
                  </a:cubicBezTo>
                  <a:cubicBezTo>
                    <a:pt x="162" y="878"/>
                    <a:pt x="162" y="878"/>
                    <a:pt x="162" y="878"/>
                  </a:cubicBezTo>
                  <a:cubicBezTo>
                    <a:pt x="348" y="863"/>
                    <a:pt x="348" y="863"/>
                    <a:pt x="348" y="863"/>
                  </a:cubicBezTo>
                  <a:cubicBezTo>
                    <a:pt x="348" y="863"/>
                    <a:pt x="285" y="746"/>
                    <a:pt x="275" y="663"/>
                  </a:cubicBezTo>
                  <a:cubicBezTo>
                    <a:pt x="265" y="580"/>
                    <a:pt x="282" y="266"/>
                    <a:pt x="241" y="149"/>
                  </a:cubicBezTo>
                  <a:cubicBezTo>
                    <a:pt x="199" y="32"/>
                    <a:pt x="190" y="16"/>
                    <a:pt x="140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" name="ïṩľïḋê">
              <a:extLst>
                <a:ext uri="{FF2B5EF4-FFF2-40B4-BE49-F238E27FC236}">
                  <a16:creationId xmlns:a16="http://schemas.microsoft.com/office/drawing/2014/main" id="{4CF67AAD-0D5B-47CE-8147-1F96B59DD105}"/>
                </a:ext>
              </a:extLst>
            </p:cNvPr>
            <p:cNvSpPr/>
            <p:nvPr/>
          </p:nvSpPr>
          <p:spPr bwMode="auto">
            <a:xfrm>
              <a:off x="6831068" y="3725305"/>
              <a:ext cx="438679" cy="430077"/>
            </a:xfrm>
            <a:custGeom>
              <a:avLst/>
              <a:gdLst>
                <a:gd name="T0" fmla="*/ 201 w 306"/>
                <a:gd name="T1" fmla="*/ 284 h 300"/>
                <a:gd name="T2" fmla="*/ 214 w 306"/>
                <a:gd name="T3" fmla="*/ 300 h 300"/>
                <a:gd name="T4" fmla="*/ 306 w 306"/>
                <a:gd name="T5" fmla="*/ 282 h 300"/>
                <a:gd name="T6" fmla="*/ 71 w 306"/>
                <a:gd name="T7" fmla="*/ 22 h 300"/>
                <a:gd name="T8" fmla="*/ 0 w 306"/>
                <a:gd name="T9" fmla="*/ 0 h 300"/>
                <a:gd name="T10" fmla="*/ 34 w 306"/>
                <a:gd name="T11" fmla="*/ 93 h 300"/>
                <a:gd name="T12" fmla="*/ 201 w 306"/>
                <a:gd name="T13" fmla="*/ 28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6" h="300">
                  <a:moveTo>
                    <a:pt x="201" y="284"/>
                  </a:moveTo>
                  <a:lnTo>
                    <a:pt x="214" y="300"/>
                  </a:lnTo>
                  <a:lnTo>
                    <a:pt x="306" y="282"/>
                  </a:lnTo>
                  <a:lnTo>
                    <a:pt x="71" y="22"/>
                  </a:lnTo>
                  <a:lnTo>
                    <a:pt x="0" y="0"/>
                  </a:lnTo>
                  <a:lnTo>
                    <a:pt x="34" y="93"/>
                  </a:lnTo>
                  <a:lnTo>
                    <a:pt x="201" y="28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" name="iSḷiďè">
              <a:extLst>
                <a:ext uri="{FF2B5EF4-FFF2-40B4-BE49-F238E27FC236}">
                  <a16:creationId xmlns:a16="http://schemas.microsoft.com/office/drawing/2014/main" id="{536FAD20-545B-4CBA-BE7A-0BD731B56F33}"/>
                </a:ext>
              </a:extLst>
            </p:cNvPr>
            <p:cNvSpPr/>
            <p:nvPr/>
          </p:nvSpPr>
          <p:spPr bwMode="auto">
            <a:xfrm>
              <a:off x="6680540" y="3379810"/>
              <a:ext cx="246578" cy="326859"/>
            </a:xfrm>
            <a:custGeom>
              <a:avLst/>
              <a:gdLst>
                <a:gd name="T0" fmla="*/ 74 w 158"/>
                <a:gd name="T1" fmla="*/ 103 h 210"/>
                <a:gd name="T2" fmla="*/ 85 w 158"/>
                <a:gd name="T3" fmla="*/ 175 h 210"/>
                <a:gd name="T4" fmla="*/ 108 w 158"/>
                <a:gd name="T5" fmla="*/ 207 h 210"/>
                <a:gd name="T6" fmla="*/ 152 w 158"/>
                <a:gd name="T7" fmla="*/ 190 h 210"/>
                <a:gd name="T8" fmla="*/ 138 w 158"/>
                <a:gd name="T9" fmla="*/ 152 h 210"/>
                <a:gd name="T10" fmla="*/ 119 w 158"/>
                <a:gd name="T11" fmla="*/ 140 h 210"/>
                <a:gd name="T12" fmla="*/ 114 w 158"/>
                <a:gd name="T13" fmla="*/ 132 h 210"/>
                <a:gd name="T14" fmla="*/ 106 w 158"/>
                <a:gd name="T15" fmla="*/ 94 h 210"/>
                <a:gd name="T16" fmla="*/ 104 w 158"/>
                <a:gd name="T17" fmla="*/ 68 h 210"/>
                <a:gd name="T18" fmla="*/ 79 w 158"/>
                <a:gd name="T19" fmla="*/ 35 h 210"/>
                <a:gd name="T20" fmla="*/ 6 w 158"/>
                <a:gd name="T21" fmla="*/ 25 h 210"/>
                <a:gd name="T22" fmla="*/ 0 w 158"/>
                <a:gd name="T23" fmla="*/ 45 h 210"/>
                <a:gd name="T24" fmla="*/ 1 w 158"/>
                <a:gd name="T25" fmla="*/ 57 h 210"/>
                <a:gd name="T26" fmla="*/ 35 w 158"/>
                <a:gd name="T27" fmla="*/ 74 h 210"/>
                <a:gd name="T28" fmla="*/ 74 w 158"/>
                <a:gd name="T29" fmla="*/ 103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8" h="210">
                  <a:moveTo>
                    <a:pt x="74" y="103"/>
                  </a:moveTo>
                  <a:cubicBezTo>
                    <a:pt x="90" y="123"/>
                    <a:pt x="88" y="151"/>
                    <a:pt x="85" y="175"/>
                  </a:cubicBezTo>
                  <a:cubicBezTo>
                    <a:pt x="83" y="196"/>
                    <a:pt x="85" y="210"/>
                    <a:pt x="108" y="207"/>
                  </a:cubicBezTo>
                  <a:cubicBezTo>
                    <a:pt x="121" y="205"/>
                    <a:pt x="145" y="203"/>
                    <a:pt x="152" y="190"/>
                  </a:cubicBezTo>
                  <a:cubicBezTo>
                    <a:pt x="158" y="180"/>
                    <a:pt x="145" y="160"/>
                    <a:pt x="138" y="152"/>
                  </a:cubicBezTo>
                  <a:cubicBezTo>
                    <a:pt x="133" y="147"/>
                    <a:pt x="124" y="146"/>
                    <a:pt x="119" y="140"/>
                  </a:cubicBezTo>
                  <a:cubicBezTo>
                    <a:pt x="117" y="138"/>
                    <a:pt x="115" y="135"/>
                    <a:pt x="114" y="132"/>
                  </a:cubicBezTo>
                  <a:cubicBezTo>
                    <a:pt x="110" y="120"/>
                    <a:pt x="107" y="107"/>
                    <a:pt x="106" y="94"/>
                  </a:cubicBezTo>
                  <a:cubicBezTo>
                    <a:pt x="106" y="85"/>
                    <a:pt x="106" y="76"/>
                    <a:pt x="104" y="68"/>
                  </a:cubicBezTo>
                  <a:cubicBezTo>
                    <a:pt x="101" y="55"/>
                    <a:pt x="87" y="44"/>
                    <a:pt x="79" y="35"/>
                  </a:cubicBezTo>
                  <a:cubicBezTo>
                    <a:pt x="63" y="17"/>
                    <a:pt x="25" y="0"/>
                    <a:pt x="6" y="25"/>
                  </a:cubicBezTo>
                  <a:cubicBezTo>
                    <a:pt x="2" y="30"/>
                    <a:pt x="1" y="38"/>
                    <a:pt x="0" y="45"/>
                  </a:cubicBezTo>
                  <a:cubicBezTo>
                    <a:pt x="0" y="49"/>
                    <a:pt x="0" y="53"/>
                    <a:pt x="1" y="57"/>
                  </a:cubicBezTo>
                  <a:cubicBezTo>
                    <a:pt x="7" y="73"/>
                    <a:pt x="22" y="71"/>
                    <a:pt x="35" y="74"/>
                  </a:cubicBezTo>
                  <a:cubicBezTo>
                    <a:pt x="50" y="79"/>
                    <a:pt x="64" y="90"/>
                    <a:pt x="74" y="10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" name="ïṩlîḑé">
              <a:extLst>
                <a:ext uri="{FF2B5EF4-FFF2-40B4-BE49-F238E27FC236}">
                  <a16:creationId xmlns:a16="http://schemas.microsoft.com/office/drawing/2014/main" id="{ECCAC554-4894-44E8-AD0F-0E0E4F8C5353}"/>
                </a:ext>
              </a:extLst>
            </p:cNvPr>
            <p:cNvSpPr/>
            <p:nvPr/>
          </p:nvSpPr>
          <p:spPr bwMode="auto">
            <a:xfrm>
              <a:off x="6577322" y="3402747"/>
              <a:ext cx="245145" cy="356965"/>
            </a:xfrm>
            <a:custGeom>
              <a:avLst/>
              <a:gdLst>
                <a:gd name="T0" fmla="*/ 127 w 158"/>
                <a:gd name="T1" fmla="*/ 194 h 230"/>
                <a:gd name="T2" fmla="*/ 157 w 158"/>
                <a:gd name="T3" fmla="*/ 135 h 230"/>
                <a:gd name="T4" fmla="*/ 140 w 158"/>
                <a:gd name="T5" fmla="*/ 69 h 230"/>
                <a:gd name="T6" fmla="*/ 10 w 158"/>
                <a:gd name="T7" fmla="*/ 102 h 230"/>
                <a:gd name="T8" fmla="*/ 127 w 158"/>
                <a:gd name="T9" fmla="*/ 1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230">
                  <a:moveTo>
                    <a:pt x="127" y="194"/>
                  </a:moveTo>
                  <a:cubicBezTo>
                    <a:pt x="146" y="181"/>
                    <a:pt x="156" y="158"/>
                    <a:pt x="157" y="135"/>
                  </a:cubicBezTo>
                  <a:cubicBezTo>
                    <a:pt x="158" y="112"/>
                    <a:pt x="150" y="90"/>
                    <a:pt x="140" y="69"/>
                  </a:cubicBezTo>
                  <a:cubicBezTo>
                    <a:pt x="108" y="0"/>
                    <a:pt x="20" y="36"/>
                    <a:pt x="10" y="102"/>
                  </a:cubicBezTo>
                  <a:cubicBezTo>
                    <a:pt x="0" y="159"/>
                    <a:pt x="71" y="230"/>
                    <a:pt x="127" y="194"/>
                  </a:cubicBez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" name="ïṣlîḋê">
              <a:extLst>
                <a:ext uri="{FF2B5EF4-FFF2-40B4-BE49-F238E27FC236}">
                  <a16:creationId xmlns:a16="http://schemas.microsoft.com/office/drawing/2014/main" id="{63C4576C-97C6-43CE-AA7B-61BCD0691BBB}"/>
                </a:ext>
              </a:extLst>
            </p:cNvPr>
            <p:cNvSpPr/>
            <p:nvPr/>
          </p:nvSpPr>
          <p:spPr bwMode="auto">
            <a:xfrm>
              <a:off x="6699178" y="3663661"/>
              <a:ext cx="83148" cy="87450"/>
            </a:xfrm>
            <a:custGeom>
              <a:avLst/>
              <a:gdLst>
                <a:gd name="T0" fmla="*/ 45 w 53"/>
                <a:gd name="T1" fmla="*/ 18 h 57"/>
                <a:gd name="T2" fmla="*/ 53 w 53"/>
                <a:gd name="T3" fmla="*/ 43 h 57"/>
                <a:gd name="T4" fmla="*/ 53 w 53"/>
                <a:gd name="T5" fmla="*/ 47 h 57"/>
                <a:gd name="T6" fmla="*/ 49 w 53"/>
                <a:gd name="T7" fmla="*/ 49 h 57"/>
                <a:gd name="T8" fmla="*/ 29 w 53"/>
                <a:gd name="T9" fmla="*/ 55 h 57"/>
                <a:gd name="T10" fmla="*/ 19 w 53"/>
                <a:gd name="T11" fmla="*/ 57 h 57"/>
                <a:gd name="T12" fmla="*/ 5 w 53"/>
                <a:gd name="T13" fmla="*/ 40 h 57"/>
                <a:gd name="T14" fmla="*/ 0 w 53"/>
                <a:gd name="T15" fmla="*/ 18 h 57"/>
                <a:gd name="T16" fmla="*/ 40 w 53"/>
                <a:gd name="T17" fmla="*/ 2 h 57"/>
                <a:gd name="T18" fmla="*/ 45 w 53"/>
                <a:gd name="T19" fmla="*/ 1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7">
                  <a:moveTo>
                    <a:pt x="45" y="18"/>
                  </a:moveTo>
                  <a:cubicBezTo>
                    <a:pt x="48" y="26"/>
                    <a:pt x="50" y="35"/>
                    <a:pt x="53" y="43"/>
                  </a:cubicBezTo>
                  <a:cubicBezTo>
                    <a:pt x="53" y="44"/>
                    <a:pt x="53" y="46"/>
                    <a:pt x="53" y="47"/>
                  </a:cubicBezTo>
                  <a:cubicBezTo>
                    <a:pt x="52" y="48"/>
                    <a:pt x="51" y="49"/>
                    <a:pt x="49" y="49"/>
                  </a:cubicBezTo>
                  <a:cubicBezTo>
                    <a:pt x="43" y="51"/>
                    <a:pt x="36" y="53"/>
                    <a:pt x="29" y="55"/>
                  </a:cubicBezTo>
                  <a:cubicBezTo>
                    <a:pt x="26" y="56"/>
                    <a:pt x="22" y="57"/>
                    <a:pt x="19" y="57"/>
                  </a:cubicBezTo>
                  <a:cubicBezTo>
                    <a:pt x="11" y="56"/>
                    <a:pt x="7" y="48"/>
                    <a:pt x="5" y="40"/>
                  </a:cubicBezTo>
                  <a:cubicBezTo>
                    <a:pt x="4" y="33"/>
                    <a:pt x="4" y="25"/>
                    <a:pt x="0" y="18"/>
                  </a:cubicBezTo>
                  <a:cubicBezTo>
                    <a:pt x="16" y="20"/>
                    <a:pt x="24" y="0"/>
                    <a:pt x="40" y="2"/>
                  </a:cubicBezTo>
                  <a:lnTo>
                    <a:pt x="45" y="18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" name="iṧḷïḍé">
              <a:extLst>
                <a:ext uri="{FF2B5EF4-FFF2-40B4-BE49-F238E27FC236}">
                  <a16:creationId xmlns:a16="http://schemas.microsoft.com/office/drawing/2014/main" id="{828A3CBF-4436-4C74-8912-8ABB0263FCCB}"/>
                </a:ext>
              </a:extLst>
            </p:cNvPr>
            <p:cNvSpPr/>
            <p:nvPr/>
          </p:nvSpPr>
          <p:spPr bwMode="auto">
            <a:xfrm>
              <a:off x="6451166" y="3313865"/>
              <a:ext cx="308223" cy="504624"/>
            </a:xfrm>
            <a:custGeom>
              <a:avLst/>
              <a:gdLst>
                <a:gd name="T0" fmla="*/ 97 w 198"/>
                <a:gd name="T1" fmla="*/ 30 h 325"/>
                <a:gd name="T2" fmla="*/ 51 w 198"/>
                <a:gd name="T3" fmla="*/ 93 h 325"/>
                <a:gd name="T4" fmla="*/ 17 w 198"/>
                <a:gd name="T5" fmla="*/ 122 h 325"/>
                <a:gd name="T6" fmla="*/ 24 w 198"/>
                <a:gd name="T7" fmla="*/ 221 h 325"/>
                <a:gd name="T8" fmla="*/ 16 w 198"/>
                <a:gd name="T9" fmla="*/ 240 h 325"/>
                <a:gd name="T10" fmla="*/ 19 w 198"/>
                <a:gd name="T11" fmla="*/ 284 h 325"/>
                <a:gd name="T12" fmla="*/ 23 w 198"/>
                <a:gd name="T13" fmla="*/ 294 h 325"/>
                <a:gd name="T14" fmla="*/ 103 w 198"/>
                <a:gd name="T15" fmla="*/ 298 h 325"/>
                <a:gd name="T16" fmla="*/ 112 w 198"/>
                <a:gd name="T17" fmla="*/ 279 h 325"/>
                <a:gd name="T18" fmla="*/ 111 w 198"/>
                <a:gd name="T19" fmla="*/ 278 h 325"/>
                <a:gd name="T20" fmla="*/ 112 w 198"/>
                <a:gd name="T21" fmla="*/ 237 h 325"/>
                <a:gd name="T22" fmla="*/ 120 w 198"/>
                <a:gd name="T23" fmla="*/ 224 h 325"/>
                <a:gd name="T24" fmla="*/ 109 w 198"/>
                <a:gd name="T25" fmla="*/ 190 h 325"/>
                <a:gd name="T26" fmla="*/ 186 w 198"/>
                <a:gd name="T27" fmla="*/ 87 h 325"/>
                <a:gd name="T28" fmla="*/ 97 w 198"/>
                <a:gd name="T29" fmla="*/ 30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8" h="325">
                  <a:moveTo>
                    <a:pt x="97" y="30"/>
                  </a:moveTo>
                  <a:cubicBezTo>
                    <a:pt x="77" y="47"/>
                    <a:pt x="70" y="76"/>
                    <a:pt x="51" y="93"/>
                  </a:cubicBezTo>
                  <a:cubicBezTo>
                    <a:pt x="40" y="103"/>
                    <a:pt x="24" y="109"/>
                    <a:pt x="17" y="122"/>
                  </a:cubicBezTo>
                  <a:cubicBezTo>
                    <a:pt x="0" y="152"/>
                    <a:pt x="35" y="189"/>
                    <a:pt x="24" y="221"/>
                  </a:cubicBezTo>
                  <a:cubicBezTo>
                    <a:pt x="22" y="227"/>
                    <a:pt x="18" y="233"/>
                    <a:pt x="16" y="240"/>
                  </a:cubicBezTo>
                  <a:cubicBezTo>
                    <a:pt x="11" y="254"/>
                    <a:pt x="15" y="270"/>
                    <a:pt x="19" y="284"/>
                  </a:cubicBezTo>
                  <a:cubicBezTo>
                    <a:pt x="20" y="287"/>
                    <a:pt x="21" y="291"/>
                    <a:pt x="23" y="294"/>
                  </a:cubicBezTo>
                  <a:cubicBezTo>
                    <a:pt x="38" y="325"/>
                    <a:pt x="85" y="306"/>
                    <a:pt x="103" y="298"/>
                  </a:cubicBezTo>
                  <a:cubicBezTo>
                    <a:pt x="123" y="288"/>
                    <a:pt x="112" y="279"/>
                    <a:pt x="112" y="279"/>
                  </a:cubicBezTo>
                  <a:cubicBezTo>
                    <a:pt x="111" y="278"/>
                    <a:pt x="111" y="278"/>
                    <a:pt x="111" y="278"/>
                  </a:cubicBezTo>
                  <a:cubicBezTo>
                    <a:pt x="104" y="266"/>
                    <a:pt x="104" y="250"/>
                    <a:pt x="112" y="237"/>
                  </a:cubicBezTo>
                  <a:cubicBezTo>
                    <a:pt x="115" y="233"/>
                    <a:pt x="118" y="229"/>
                    <a:pt x="120" y="224"/>
                  </a:cubicBezTo>
                  <a:cubicBezTo>
                    <a:pt x="122" y="212"/>
                    <a:pt x="112" y="202"/>
                    <a:pt x="109" y="190"/>
                  </a:cubicBezTo>
                  <a:cubicBezTo>
                    <a:pt x="97" y="144"/>
                    <a:pt x="176" y="127"/>
                    <a:pt x="186" y="87"/>
                  </a:cubicBezTo>
                  <a:cubicBezTo>
                    <a:pt x="198" y="38"/>
                    <a:pt x="136" y="0"/>
                    <a:pt x="97" y="30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" name="í$1ïḋe">
              <a:extLst>
                <a:ext uri="{FF2B5EF4-FFF2-40B4-BE49-F238E27FC236}">
                  <a16:creationId xmlns:a16="http://schemas.microsoft.com/office/drawing/2014/main" id="{61806434-3297-4D86-9FAE-A6DC3ED57C67}"/>
                </a:ext>
              </a:extLst>
            </p:cNvPr>
            <p:cNvSpPr/>
            <p:nvPr/>
          </p:nvSpPr>
          <p:spPr bwMode="auto">
            <a:xfrm>
              <a:off x="6320710" y="4466471"/>
              <a:ext cx="98918" cy="123289"/>
            </a:xfrm>
            <a:custGeom>
              <a:avLst/>
              <a:gdLst>
                <a:gd name="T0" fmla="*/ 11 w 69"/>
                <a:gd name="T1" fmla="*/ 44 h 86"/>
                <a:gd name="T2" fmla="*/ 51 w 69"/>
                <a:gd name="T3" fmla="*/ 86 h 86"/>
                <a:gd name="T4" fmla="*/ 69 w 69"/>
                <a:gd name="T5" fmla="*/ 68 h 86"/>
                <a:gd name="T6" fmla="*/ 47 w 69"/>
                <a:gd name="T7" fmla="*/ 35 h 86"/>
                <a:gd name="T8" fmla="*/ 60 w 69"/>
                <a:gd name="T9" fmla="*/ 31 h 86"/>
                <a:gd name="T10" fmla="*/ 21 w 69"/>
                <a:gd name="T11" fmla="*/ 0 h 86"/>
                <a:gd name="T12" fmla="*/ 0 w 69"/>
                <a:gd name="T13" fmla="*/ 15 h 86"/>
                <a:gd name="T14" fmla="*/ 11 w 69"/>
                <a:gd name="T15" fmla="*/ 4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86">
                  <a:moveTo>
                    <a:pt x="11" y="44"/>
                  </a:moveTo>
                  <a:lnTo>
                    <a:pt x="51" y="86"/>
                  </a:lnTo>
                  <a:lnTo>
                    <a:pt x="69" y="68"/>
                  </a:lnTo>
                  <a:lnTo>
                    <a:pt x="47" y="35"/>
                  </a:lnTo>
                  <a:lnTo>
                    <a:pt x="60" y="31"/>
                  </a:lnTo>
                  <a:lnTo>
                    <a:pt x="21" y="0"/>
                  </a:lnTo>
                  <a:lnTo>
                    <a:pt x="0" y="15"/>
                  </a:lnTo>
                  <a:lnTo>
                    <a:pt x="11" y="44"/>
                  </a:lnTo>
                  <a:close/>
                </a:path>
              </a:pathLst>
            </a:custGeom>
            <a:solidFill>
              <a:srgbClr val="DEC9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ṩḷíḍe">
              <a:extLst>
                <a:ext uri="{FF2B5EF4-FFF2-40B4-BE49-F238E27FC236}">
                  <a16:creationId xmlns:a16="http://schemas.microsoft.com/office/drawing/2014/main" id="{2B7E6015-7838-4FB8-BC0F-2C4CFEEF19E4}"/>
                </a:ext>
              </a:extLst>
            </p:cNvPr>
            <p:cNvSpPr/>
            <p:nvPr/>
          </p:nvSpPr>
          <p:spPr bwMode="auto">
            <a:xfrm>
              <a:off x="6237561" y="3776914"/>
              <a:ext cx="356965" cy="728264"/>
            </a:xfrm>
            <a:custGeom>
              <a:avLst/>
              <a:gdLst>
                <a:gd name="T0" fmla="*/ 249 w 249"/>
                <a:gd name="T1" fmla="*/ 171 h 508"/>
                <a:gd name="T2" fmla="*/ 114 w 249"/>
                <a:gd name="T3" fmla="*/ 274 h 508"/>
                <a:gd name="T4" fmla="*/ 92 w 249"/>
                <a:gd name="T5" fmla="*/ 474 h 508"/>
                <a:gd name="T6" fmla="*/ 48 w 249"/>
                <a:gd name="T7" fmla="*/ 508 h 508"/>
                <a:gd name="T8" fmla="*/ 0 w 249"/>
                <a:gd name="T9" fmla="*/ 213 h 508"/>
                <a:gd name="T10" fmla="*/ 227 w 249"/>
                <a:gd name="T11" fmla="*/ 0 h 508"/>
                <a:gd name="T12" fmla="*/ 249 w 249"/>
                <a:gd name="T13" fmla="*/ 171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508">
                  <a:moveTo>
                    <a:pt x="249" y="171"/>
                  </a:moveTo>
                  <a:lnTo>
                    <a:pt x="114" y="274"/>
                  </a:lnTo>
                  <a:lnTo>
                    <a:pt x="92" y="474"/>
                  </a:lnTo>
                  <a:lnTo>
                    <a:pt x="48" y="508"/>
                  </a:lnTo>
                  <a:lnTo>
                    <a:pt x="0" y="213"/>
                  </a:lnTo>
                  <a:lnTo>
                    <a:pt x="227" y="0"/>
                  </a:lnTo>
                  <a:lnTo>
                    <a:pt x="249" y="17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" name="ïṩ1íḑé">
              <a:extLst>
                <a:ext uri="{FF2B5EF4-FFF2-40B4-BE49-F238E27FC236}">
                  <a16:creationId xmlns:a16="http://schemas.microsoft.com/office/drawing/2014/main" id="{9B10CC4A-A856-41BB-B60B-A2AAE332CD09}"/>
                </a:ext>
              </a:extLst>
            </p:cNvPr>
            <p:cNvSpPr/>
            <p:nvPr/>
          </p:nvSpPr>
          <p:spPr bwMode="auto">
            <a:xfrm>
              <a:off x="6487007" y="4032093"/>
              <a:ext cx="113254" cy="732565"/>
            </a:xfrm>
            <a:custGeom>
              <a:avLst/>
              <a:gdLst>
                <a:gd name="T0" fmla="*/ 27 w 79"/>
                <a:gd name="T1" fmla="*/ 511 h 511"/>
                <a:gd name="T2" fmla="*/ 0 w 79"/>
                <a:gd name="T3" fmla="*/ 509 h 511"/>
                <a:gd name="T4" fmla="*/ 52 w 79"/>
                <a:gd name="T5" fmla="*/ 0 h 511"/>
                <a:gd name="T6" fmla="*/ 79 w 79"/>
                <a:gd name="T7" fmla="*/ 3 h 511"/>
                <a:gd name="T8" fmla="*/ 27 w 79"/>
                <a:gd name="T9" fmla="*/ 511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511">
                  <a:moveTo>
                    <a:pt x="27" y="511"/>
                  </a:moveTo>
                  <a:lnTo>
                    <a:pt x="0" y="509"/>
                  </a:lnTo>
                  <a:lnTo>
                    <a:pt x="52" y="0"/>
                  </a:lnTo>
                  <a:lnTo>
                    <a:pt x="79" y="3"/>
                  </a:lnTo>
                  <a:lnTo>
                    <a:pt x="27" y="511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îṣľíḍê">
              <a:extLst>
                <a:ext uri="{FF2B5EF4-FFF2-40B4-BE49-F238E27FC236}">
                  <a16:creationId xmlns:a16="http://schemas.microsoft.com/office/drawing/2014/main" id="{8222319D-FE6B-4739-917C-F827ED516B5E}"/>
                </a:ext>
              </a:extLst>
            </p:cNvPr>
            <p:cNvSpPr/>
            <p:nvPr/>
          </p:nvSpPr>
          <p:spPr bwMode="auto">
            <a:xfrm>
              <a:off x="6826767" y="4065067"/>
              <a:ext cx="116122" cy="735433"/>
            </a:xfrm>
            <a:custGeom>
              <a:avLst/>
              <a:gdLst>
                <a:gd name="T0" fmla="*/ 28 w 81"/>
                <a:gd name="T1" fmla="*/ 513 h 513"/>
                <a:gd name="T2" fmla="*/ 0 w 81"/>
                <a:gd name="T3" fmla="*/ 510 h 513"/>
                <a:gd name="T4" fmla="*/ 54 w 81"/>
                <a:gd name="T5" fmla="*/ 0 h 513"/>
                <a:gd name="T6" fmla="*/ 81 w 81"/>
                <a:gd name="T7" fmla="*/ 4 h 513"/>
                <a:gd name="T8" fmla="*/ 28 w 81"/>
                <a:gd name="T9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513">
                  <a:moveTo>
                    <a:pt x="28" y="513"/>
                  </a:moveTo>
                  <a:lnTo>
                    <a:pt x="0" y="510"/>
                  </a:lnTo>
                  <a:lnTo>
                    <a:pt x="54" y="0"/>
                  </a:lnTo>
                  <a:lnTo>
                    <a:pt x="81" y="4"/>
                  </a:lnTo>
                  <a:lnTo>
                    <a:pt x="28" y="513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" name="îS1íḓè">
              <a:extLst>
                <a:ext uri="{FF2B5EF4-FFF2-40B4-BE49-F238E27FC236}">
                  <a16:creationId xmlns:a16="http://schemas.microsoft.com/office/drawing/2014/main" id="{DB0BB8B2-E39A-4B4C-A28D-6A8FE7789422}"/>
                </a:ext>
              </a:extLst>
            </p:cNvPr>
            <p:cNvSpPr/>
            <p:nvPr/>
          </p:nvSpPr>
          <p:spPr bwMode="auto">
            <a:xfrm>
              <a:off x="7169396" y="4100905"/>
              <a:ext cx="113254" cy="735433"/>
            </a:xfrm>
            <a:custGeom>
              <a:avLst/>
              <a:gdLst>
                <a:gd name="T0" fmla="*/ 27 w 79"/>
                <a:gd name="T1" fmla="*/ 513 h 513"/>
                <a:gd name="T2" fmla="*/ 0 w 79"/>
                <a:gd name="T3" fmla="*/ 510 h 513"/>
                <a:gd name="T4" fmla="*/ 52 w 79"/>
                <a:gd name="T5" fmla="*/ 0 h 513"/>
                <a:gd name="T6" fmla="*/ 79 w 79"/>
                <a:gd name="T7" fmla="*/ 4 h 513"/>
                <a:gd name="T8" fmla="*/ 27 w 79"/>
                <a:gd name="T9" fmla="*/ 513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513">
                  <a:moveTo>
                    <a:pt x="27" y="513"/>
                  </a:moveTo>
                  <a:lnTo>
                    <a:pt x="0" y="510"/>
                  </a:lnTo>
                  <a:lnTo>
                    <a:pt x="52" y="0"/>
                  </a:lnTo>
                  <a:lnTo>
                    <a:pt x="79" y="4"/>
                  </a:lnTo>
                  <a:lnTo>
                    <a:pt x="27" y="513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" name="isḷiḓê">
              <a:extLst>
                <a:ext uri="{FF2B5EF4-FFF2-40B4-BE49-F238E27FC236}">
                  <a16:creationId xmlns:a16="http://schemas.microsoft.com/office/drawing/2014/main" id="{6F1482DB-D910-4040-B1AD-D07E47529F03}"/>
                </a:ext>
              </a:extLst>
            </p:cNvPr>
            <p:cNvSpPr/>
            <p:nvPr/>
          </p:nvSpPr>
          <p:spPr bwMode="auto">
            <a:xfrm>
              <a:off x="6376619" y="3967582"/>
              <a:ext cx="1129670" cy="205004"/>
            </a:xfrm>
            <a:custGeom>
              <a:avLst/>
              <a:gdLst>
                <a:gd name="T0" fmla="*/ 781 w 788"/>
                <a:gd name="T1" fmla="*/ 143 h 143"/>
                <a:gd name="T2" fmla="*/ 0 w 788"/>
                <a:gd name="T3" fmla="*/ 63 h 143"/>
                <a:gd name="T4" fmla="*/ 6 w 788"/>
                <a:gd name="T5" fmla="*/ 0 h 143"/>
                <a:gd name="T6" fmla="*/ 788 w 788"/>
                <a:gd name="T7" fmla="*/ 80 h 143"/>
                <a:gd name="T8" fmla="*/ 781 w 788"/>
                <a:gd name="T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8" h="143">
                  <a:moveTo>
                    <a:pt x="781" y="143"/>
                  </a:moveTo>
                  <a:lnTo>
                    <a:pt x="0" y="63"/>
                  </a:lnTo>
                  <a:lnTo>
                    <a:pt x="6" y="0"/>
                  </a:lnTo>
                  <a:lnTo>
                    <a:pt x="788" y="80"/>
                  </a:lnTo>
                  <a:lnTo>
                    <a:pt x="781" y="143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" name="íş1iḋe">
              <a:extLst>
                <a:ext uri="{FF2B5EF4-FFF2-40B4-BE49-F238E27FC236}">
                  <a16:creationId xmlns:a16="http://schemas.microsoft.com/office/drawing/2014/main" id="{23870E1E-70D4-414C-87F2-5E6F5035B2B4}"/>
                </a:ext>
              </a:extLst>
            </p:cNvPr>
            <p:cNvSpPr/>
            <p:nvPr/>
          </p:nvSpPr>
          <p:spPr bwMode="auto">
            <a:xfrm>
              <a:off x="6302072" y="4695846"/>
              <a:ext cx="1126803" cy="206437"/>
            </a:xfrm>
            <a:custGeom>
              <a:avLst/>
              <a:gdLst>
                <a:gd name="T0" fmla="*/ 780 w 786"/>
                <a:gd name="T1" fmla="*/ 144 h 144"/>
                <a:gd name="T2" fmla="*/ 0 w 786"/>
                <a:gd name="T3" fmla="*/ 64 h 144"/>
                <a:gd name="T4" fmla="*/ 6 w 786"/>
                <a:gd name="T5" fmla="*/ 0 h 144"/>
                <a:gd name="T6" fmla="*/ 786 w 786"/>
                <a:gd name="T7" fmla="*/ 81 h 144"/>
                <a:gd name="T8" fmla="*/ 780 w 786"/>
                <a:gd name="T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144">
                  <a:moveTo>
                    <a:pt x="780" y="144"/>
                  </a:moveTo>
                  <a:lnTo>
                    <a:pt x="0" y="64"/>
                  </a:lnTo>
                  <a:lnTo>
                    <a:pt x="6" y="0"/>
                  </a:lnTo>
                  <a:lnTo>
                    <a:pt x="786" y="81"/>
                  </a:lnTo>
                  <a:lnTo>
                    <a:pt x="780" y="144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" name="ïṣliḓê">
              <a:extLst>
                <a:ext uri="{FF2B5EF4-FFF2-40B4-BE49-F238E27FC236}">
                  <a16:creationId xmlns:a16="http://schemas.microsoft.com/office/drawing/2014/main" id="{38EB56D8-5199-44FA-B0AF-1145C64F3A4B}"/>
                </a:ext>
              </a:extLst>
            </p:cNvPr>
            <p:cNvSpPr/>
            <p:nvPr/>
          </p:nvSpPr>
          <p:spPr bwMode="auto">
            <a:xfrm>
              <a:off x="6422494" y="4118109"/>
              <a:ext cx="286719" cy="123289"/>
            </a:xfrm>
            <a:custGeom>
              <a:avLst/>
              <a:gdLst>
                <a:gd name="T0" fmla="*/ 150 w 184"/>
                <a:gd name="T1" fmla="*/ 78 h 79"/>
                <a:gd name="T2" fmla="*/ 27 w 184"/>
                <a:gd name="T3" fmla="*/ 65 h 79"/>
                <a:gd name="T4" fmla="*/ 2 w 184"/>
                <a:gd name="T5" fmla="*/ 34 h 79"/>
                <a:gd name="T6" fmla="*/ 2 w 184"/>
                <a:gd name="T7" fmla="*/ 27 h 79"/>
                <a:gd name="T8" fmla="*/ 33 w 184"/>
                <a:gd name="T9" fmla="*/ 2 h 79"/>
                <a:gd name="T10" fmla="*/ 157 w 184"/>
                <a:gd name="T11" fmla="*/ 15 h 79"/>
                <a:gd name="T12" fmla="*/ 182 w 184"/>
                <a:gd name="T13" fmla="*/ 46 h 79"/>
                <a:gd name="T14" fmla="*/ 182 w 184"/>
                <a:gd name="T15" fmla="*/ 52 h 79"/>
                <a:gd name="T16" fmla="*/ 150 w 184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8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1" y="63"/>
                    <a:pt x="0" y="49"/>
                    <a:pt x="2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2"/>
                    <a:pt x="18" y="0"/>
                    <a:pt x="33" y="2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72" y="16"/>
                    <a:pt x="184" y="30"/>
                    <a:pt x="182" y="46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0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" name="ïṧlídé">
              <a:extLst>
                <a:ext uri="{FF2B5EF4-FFF2-40B4-BE49-F238E27FC236}">
                  <a16:creationId xmlns:a16="http://schemas.microsoft.com/office/drawing/2014/main" id="{23E6B872-B0C8-4FE7-ADEB-A2AFB9E19EDF}"/>
                </a:ext>
              </a:extLst>
            </p:cNvPr>
            <p:cNvSpPr/>
            <p:nvPr/>
          </p:nvSpPr>
          <p:spPr bwMode="auto">
            <a:xfrm>
              <a:off x="6400990" y="4337449"/>
              <a:ext cx="285285" cy="123289"/>
            </a:xfrm>
            <a:custGeom>
              <a:avLst/>
              <a:gdLst>
                <a:gd name="T0" fmla="*/ 150 w 183"/>
                <a:gd name="T1" fmla="*/ 77 h 79"/>
                <a:gd name="T2" fmla="*/ 27 w 183"/>
                <a:gd name="T3" fmla="*/ 64 h 79"/>
                <a:gd name="T4" fmla="*/ 1 w 183"/>
                <a:gd name="T5" fmla="*/ 33 h 79"/>
                <a:gd name="T6" fmla="*/ 2 w 183"/>
                <a:gd name="T7" fmla="*/ 27 h 79"/>
                <a:gd name="T8" fmla="*/ 33 w 183"/>
                <a:gd name="T9" fmla="*/ 1 h 79"/>
                <a:gd name="T10" fmla="*/ 156 w 183"/>
                <a:gd name="T11" fmla="*/ 14 h 79"/>
                <a:gd name="T12" fmla="*/ 182 w 183"/>
                <a:gd name="T13" fmla="*/ 45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1" y="63"/>
                    <a:pt x="0" y="49"/>
                    <a:pt x="1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1"/>
                    <a:pt x="18" y="0"/>
                    <a:pt x="33" y="1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7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" name="íşḷíḋe">
              <a:extLst>
                <a:ext uri="{FF2B5EF4-FFF2-40B4-BE49-F238E27FC236}">
                  <a16:creationId xmlns:a16="http://schemas.microsoft.com/office/drawing/2014/main" id="{CC28AF47-4569-42AD-A5D5-04D6B858771E}"/>
                </a:ext>
              </a:extLst>
            </p:cNvPr>
            <p:cNvSpPr/>
            <p:nvPr/>
          </p:nvSpPr>
          <p:spPr bwMode="auto">
            <a:xfrm>
              <a:off x="6388088" y="4459304"/>
              <a:ext cx="285285" cy="121856"/>
            </a:xfrm>
            <a:custGeom>
              <a:avLst/>
              <a:gdLst>
                <a:gd name="T0" fmla="*/ 150 w 183"/>
                <a:gd name="T1" fmla="*/ 77 h 79"/>
                <a:gd name="T2" fmla="*/ 26 w 183"/>
                <a:gd name="T3" fmla="*/ 65 h 79"/>
                <a:gd name="T4" fmla="*/ 1 w 183"/>
                <a:gd name="T5" fmla="*/ 34 h 79"/>
                <a:gd name="T6" fmla="*/ 2 w 183"/>
                <a:gd name="T7" fmla="*/ 27 h 79"/>
                <a:gd name="T8" fmla="*/ 33 w 183"/>
                <a:gd name="T9" fmla="*/ 2 h 79"/>
                <a:gd name="T10" fmla="*/ 156 w 183"/>
                <a:gd name="T11" fmla="*/ 14 h 79"/>
                <a:gd name="T12" fmla="*/ 182 w 183"/>
                <a:gd name="T13" fmla="*/ 46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6" y="65"/>
                    <a:pt x="26" y="65"/>
                    <a:pt x="26" y="65"/>
                  </a:cubicBezTo>
                  <a:cubicBezTo>
                    <a:pt x="11" y="63"/>
                    <a:pt x="0" y="49"/>
                    <a:pt x="1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2"/>
                    <a:pt x="17" y="0"/>
                    <a:pt x="33" y="2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6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8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ïSḷíḋe">
              <a:extLst>
                <a:ext uri="{FF2B5EF4-FFF2-40B4-BE49-F238E27FC236}">
                  <a16:creationId xmlns:a16="http://schemas.microsoft.com/office/drawing/2014/main" id="{32E9CB35-E912-4F63-B3FA-0362D1FE9B1F}"/>
                </a:ext>
              </a:extLst>
            </p:cNvPr>
            <p:cNvSpPr/>
            <p:nvPr/>
          </p:nvSpPr>
          <p:spPr bwMode="auto">
            <a:xfrm>
              <a:off x="6375187" y="4581159"/>
              <a:ext cx="285285" cy="123289"/>
            </a:xfrm>
            <a:custGeom>
              <a:avLst/>
              <a:gdLst>
                <a:gd name="T0" fmla="*/ 151 w 184"/>
                <a:gd name="T1" fmla="*/ 78 h 79"/>
                <a:gd name="T2" fmla="*/ 27 w 184"/>
                <a:gd name="T3" fmla="*/ 65 h 79"/>
                <a:gd name="T4" fmla="*/ 2 w 184"/>
                <a:gd name="T5" fmla="*/ 34 h 79"/>
                <a:gd name="T6" fmla="*/ 3 w 184"/>
                <a:gd name="T7" fmla="*/ 27 h 79"/>
                <a:gd name="T8" fmla="*/ 34 w 184"/>
                <a:gd name="T9" fmla="*/ 2 h 79"/>
                <a:gd name="T10" fmla="*/ 157 w 184"/>
                <a:gd name="T11" fmla="*/ 15 h 79"/>
                <a:gd name="T12" fmla="*/ 183 w 184"/>
                <a:gd name="T13" fmla="*/ 46 h 79"/>
                <a:gd name="T14" fmla="*/ 182 w 184"/>
                <a:gd name="T15" fmla="*/ 52 h 79"/>
                <a:gd name="T16" fmla="*/ 151 w 184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1" y="78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2" y="63"/>
                    <a:pt x="0" y="49"/>
                    <a:pt x="2" y="3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12"/>
                    <a:pt x="18" y="0"/>
                    <a:pt x="34" y="2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73" y="16"/>
                    <a:pt x="184" y="30"/>
                    <a:pt x="183" y="46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1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íšḷidé">
              <a:extLst>
                <a:ext uri="{FF2B5EF4-FFF2-40B4-BE49-F238E27FC236}">
                  <a16:creationId xmlns:a16="http://schemas.microsoft.com/office/drawing/2014/main" id="{9F724B49-1441-49B0-B4B1-DBBA4C9FBEC3}"/>
                </a:ext>
              </a:extLst>
            </p:cNvPr>
            <p:cNvSpPr/>
            <p:nvPr/>
          </p:nvSpPr>
          <p:spPr bwMode="auto">
            <a:xfrm>
              <a:off x="6765123" y="4153949"/>
              <a:ext cx="285285" cy="123289"/>
            </a:xfrm>
            <a:custGeom>
              <a:avLst/>
              <a:gdLst>
                <a:gd name="T0" fmla="*/ 150 w 183"/>
                <a:gd name="T1" fmla="*/ 77 h 79"/>
                <a:gd name="T2" fmla="*/ 26 w 183"/>
                <a:gd name="T3" fmla="*/ 64 h 79"/>
                <a:gd name="T4" fmla="*/ 1 w 183"/>
                <a:gd name="T5" fmla="*/ 33 h 79"/>
                <a:gd name="T6" fmla="*/ 2 w 183"/>
                <a:gd name="T7" fmla="*/ 27 h 79"/>
                <a:gd name="T8" fmla="*/ 33 w 183"/>
                <a:gd name="T9" fmla="*/ 1 h 79"/>
                <a:gd name="T10" fmla="*/ 156 w 183"/>
                <a:gd name="T11" fmla="*/ 14 h 79"/>
                <a:gd name="T12" fmla="*/ 182 w 183"/>
                <a:gd name="T13" fmla="*/ 45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6" y="64"/>
                    <a:pt x="26" y="64"/>
                    <a:pt x="26" y="64"/>
                  </a:cubicBezTo>
                  <a:cubicBezTo>
                    <a:pt x="11" y="63"/>
                    <a:pt x="0" y="49"/>
                    <a:pt x="1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1"/>
                    <a:pt x="17" y="0"/>
                    <a:pt x="33" y="1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7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7" name="íṥľíḓê">
              <a:extLst>
                <a:ext uri="{FF2B5EF4-FFF2-40B4-BE49-F238E27FC236}">
                  <a16:creationId xmlns:a16="http://schemas.microsoft.com/office/drawing/2014/main" id="{E3781C11-A0EF-411F-BDD2-4D68190F9326}"/>
                </a:ext>
              </a:extLst>
            </p:cNvPr>
            <p:cNvSpPr/>
            <p:nvPr/>
          </p:nvSpPr>
          <p:spPr bwMode="auto">
            <a:xfrm>
              <a:off x="6750787" y="4278671"/>
              <a:ext cx="286719" cy="121856"/>
            </a:xfrm>
            <a:custGeom>
              <a:avLst/>
              <a:gdLst>
                <a:gd name="T0" fmla="*/ 151 w 184"/>
                <a:gd name="T1" fmla="*/ 77 h 79"/>
                <a:gd name="T2" fmla="*/ 27 w 184"/>
                <a:gd name="T3" fmla="*/ 65 h 79"/>
                <a:gd name="T4" fmla="*/ 2 w 184"/>
                <a:gd name="T5" fmla="*/ 34 h 79"/>
                <a:gd name="T6" fmla="*/ 3 w 184"/>
                <a:gd name="T7" fmla="*/ 27 h 79"/>
                <a:gd name="T8" fmla="*/ 34 w 184"/>
                <a:gd name="T9" fmla="*/ 2 h 79"/>
                <a:gd name="T10" fmla="*/ 157 w 184"/>
                <a:gd name="T11" fmla="*/ 14 h 79"/>
                <a:gd name="T12" fmla="*/ 182 w 184"/>
                <a:gd name="T13" fmla="*/ 45 h 79"/>
                <a:gd name="T14" fmla="*/ 182 w 184"/>
                <a:gd name="T15" fmla="*/ 52 h 79"/>
                <a:gd name="T16" fmla="*/ 151 w 184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1" y="77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2" y="63"/>
                    <a:pt x="0" y="49"/>
                    <a:pt x="2" y="34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11"/>
                    <a:pt x="18" y="0"/>
                    <a:pt x="34" y="2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3" y="16"/>
                    <a:pt x="184" y="30"/>
                    <a:pt x="182" y="45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1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8" name="îṩľíḑê">
              <a:extLst>
                <a:ext uri="{FF2B5EF4-FFF2-40B4-BE49-F238E27FC236}">
                  <a16:creationId xmlns:a16="http://schemas.microsoft.com/office/drawing/2014/main" id="{A3EB5837-A13B-427E-8998-5F022589CF5F}"/>
                </a:ext>
              </a:extLst>
            </p:cNvPr>
            <p:cNvSpPr/>
            <p:nvPr/>
          </p:nvSpPr>
          <p:spPr bwMode="auto">
            <a:xfrm>
              <a:off x="6729283" y="4493710"/>
              <a:ext cx="286719" cy="123289"/>
            </a:xfrm>
            <a:custGeom>
              <a:avLst/>
              <a:gdLst>
                <a:gd name="T0" fmla="*/ 150 w 184"/>
                <a:gd name="T1" fmla="*/ 77 h 79"/>
                <a:gd name="T2" fmla="*/ 27 w 184"/>
                <a:gd name="T3" fmla="*/ 64 h 79"/>
                <a:gd name="T4" fmla="*/ 2 w 184"/>
                <a:gd name="T5" fmla="*/ 33 h 79"/>
                <a:gd name="T6" fmla="*/ 2 w 184"/>
                <a:gd name="T7" fmla="*/ 27 h 79"/>
                <a:gd name="T8" fmla="*/ 33 w 184"/>
                <a:gd name="T9" fmla="*/ 1 h 79"/>
                <a:gd name="T10" fmla="*/ 157 w 184"/>
                <a:gd name="T11" fmla="*/ 14 h 79"/>
                <a:gd name="T12" fmla="*/ 182 w 184"/>
                <a:gd name="T13" fmla="*/ 45 h 79"/>
                <a:gd name="T14" fmla="*/ 182 w 184"/>
                <a:gd name="T15" fmla="*/ 52 h 79"/>
                <a:gd name="T16" fmla="*/ 150 w 184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1" y="63"/>
                    <a:pt x="0" y="49"/>
                    <a:pt x="2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1"/>
                    <a:pt x="18" y="0"/>
                    <a:pt x="33" y="1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2" y="16"/>
                    <a:pt x="184" y="30"/>
                    <a:pt x="182" y="45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7"/>
                    <a:pt x="166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9" name="iṧ1ïḓê">
              <a:extLst>
                <a:ext uri="{FF2B5EF4-FFF2-40B4-BE49-F238E27FC236}">
                  <a16:creationId xmlns:a16="http://schemas.microsoft.com/office/drawing/2014/main" id="{CCF9394F-2494-4D32-8A83-3490D765A2AE}"/>
                </a:ext>
              </a:extLst>
            </p:cNvPr>
            <p:cNvSpPr/>
            <p:nvPr/>
          </p:nvSpPr>
          <p:spPr bwMode="auto">
            <a:xfrm>
              <a:off x="6716381" y="4616998"/>
              <a:ext cx="286719" cy="123289"/>
            </a:xfrm>
            <a:custGeom>
              <a:avLst/>
              <a:gdLst>
                <a:gd name="T0" fmla="*/ 150 w 184"/>
                <a:gd name="T1" fmla="*/ 77 h 79"/>
                <a:gd name="T2" fmla="*/ 27 w 184"/>
                <a:gd name="T3" fmla="*/ 65 h 79"/>
                <a:gd name="T4" fmla="*/ 2 w 184"/>
                <a:gd name="T5" fmla="*/ 34 h 79"/>
                <a:gd name="T6" fmla="*/ 2 w 184"/>
                <a:gd name="T7" fmla="*/ 27 h 79"/>
                <a:gd name="T8" fmla="*/ 33 w 184"/>
                <a:gd name="T9" fmla="*/ 2 h 79"/>
                <a:gd name="T10" fmla="*/ 157 w 184"/>
                <a:gd name="T11" fmla="*/ 14 h 79"/>
                <a:gd name="T12" fmla="*/ 182 w 184"/>
                <a:gd name="T13" fmla="*/ 45 h 79"/>
                <a:gd name="T14" fmla="*/ 181 w 184"/>
                <a:gd name="T15" fmla="*/ 52 h 79"/>
                <a:gd name="T16" fmla="*/ 150 w 184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7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1" y="63"/>
                    <a:pt x="0" y="49"/>
                    <a:pt x="2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1"/>
                    <a:pt x="18" y="0"/>
                    <a:pt x="33" y="2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2" y="16"/>
                    <a:pt x="184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80" y="68"/>
                    <a:pt x="166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0" name="ïsļïḋe">
              <a:extLst>
                <a:ext uri="{FF2B5EF4-FFF2-40B4-BE49-F238E27FC236}">
                  <a16:creationId xmlns:a16="http://schemas.microsoft.com/office/drawing/2014/main" id="{996A42E8-9BBE-4342-9CF2-AA5D41EF8E42}"/>
                </a:ext>
              </a:extLst>
            </p:cNvPr>
            <p:cNvSpPr/>
            <p:nvPr/>
          </p:nvSpPr>
          <p:spPr bwMode="auto">
            <a:xfrm>
              <a:off x="7106318" y="4188355"/>
              <a:ext cx="285285" cy="123289"/>
            </a:xfrm>
            <a:custGeom>
              <a:avLst/>
              <a:gdLst>
                <a:gd name="T0" fmla="*/ 150 w 184"/>
                <a:gd name="T1" fmla="*/ 78 h 79"/>
                <a:gd name="T2" fmla="*/ 27 w 184"/>
                <a:gd name="T3" fmla="*/ 65 h 79"/>
                <a:gd name="T4" fmla="*/ 2 w 184"/>
                <a:gd name="T5" fmla="*/ 34 h 79"/>
                <a:gd name="T6" fmla="*/ 2 w 184"/>
                <a:gd name="T7" fmla="*/ 27 h 79"/>
                <a:gd name="T8" fmla="*/ 33 w 184"/>
                <a:gd name="T9" fmla="*/ 2 h 79"/>
                <a:gd name="T10" fmla="*/ 157 w 184"/>
                <a:gd name="T11" fmla="*/ 15 h 79"/>
                <a:gd name="T12" fmla="*/ 182 w 184"/>
                <a:gd name="T13" fmla="*/ 46 h 79"/>
                <a:gd name="T14" fmla="*/ 182 w 184"/>
                <a:gd name="T15" fmla="*/ 52 h 79"/>
                <a:gd name="T16" fmla="*/ 150 w 184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9">
                  <a:moveTo>
                    <a:pt x="150" y="78"/>
                  </a:moveTo>
                  <a:cubicBezTo>
                    <a:pt x="27" y="65"/>
                    <a:pt x="27" y="65"/>
                    <a:pt x="27" y="65"/>
                  </a:cubicBezTo>
                  <a:cubicBezTo>
                    <a:pt x="11" y="63"/>
                    <a:pt x="0" y="49"/>
                    <a:pt x="2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4" y="12"/>
                    <a:pt x="18" y="0"/>
                    <a:pt x="33" y="2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72" y="16"/>
                    <a:pt x="184" y="30"/>
                    <a:pt x="182" y="46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8"/>
                    <a:pt x="166" y="79"/>
                    <a:pt x="150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1" name="íṡľïḓê">
              <a:extLst>
                <a:ext uri="{FF2B5EF4-FFF2-40B4-BE49-F238E27FC236}">
                  <a16:creationId xmlns:a16="http://schemas.microsoft.com/office/drawing/2014/main" id="{9A8C8954-9D79-4C9B-8077-105C13178F35}"/>
                </a:ext>
              </a:extLst>
            </p:cNvPr>
            <p:cNvSpPr/>
            <p:nvPr/>
          </p:nvSpPr>
          <p:spPr bwMode="auto">
            <a:xfrm>
              <a:off x="7083380" y="4407694"/>
              <a:ext cx="285285" cy="121856"/>
            </a:xfrm>
            <a:custGeom>
              <a:avLst/>
              <a:gdLst>
                <a:gd name="T0" fmla="*/ 150 w 183"/>
                <a:gd name="T1" fmla="*/ 77 h 79"/>
                <a:gd name="T2" fmla="*/ 27 w 183"/>
                <a:gd name="T3" fmla="*/ 64 h 79"/>
                <a:gd name="T4" fmla="*/ 1 w 183"/>
                <a:gd name="T5" fmla="*/ 33 h 79"/>
                <a:gd name="T6" fmla="*/ 2 w 183"/>
                <a:gd name="T7" fmla="*/ 27 h 79"/>
                <a:gd name="T8" fmla="*/ 33 w 183"/>
                <a:gd name="T9" fmla="*/ 1 h 79"/>
                <a:gd name="T10" fmla="*/ 156 w 183"/>
                <a:gd name="T11" fmla="*/ 14 h 79"/>
                <a:gd name="T12" fmla="*/ 182 w 183"/>
                <a:gd name="T13" fmla="*/ 45 h 79"/>
                <a:gd name="T14" fmla="*/ 181 w 183"/>
                <a:gd name="T15" fmla="*/ 52 h 79"/>
                <a:gd name="T16" fmla="*/ 150 w 183"/>
                <a:gd name="T17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1" y="63"/>
                    <a:pt x="0" y="49"/>
                    <a:pt x="1" y="33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1"/>
                    <a:pt x="17" y="0"/>
                    <a:pt x="33" y="1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72" y="16"/>
                    <a:pt x="183" y="30"/>
                    <a:pt x="182" y="45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7"/>
                    <a:pt x="165" y="79"/>
                    <a:pt x="150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2" name="iṣļîďé">
              <a:extLst>
                <a:ext uri="{FF2B5EF4-FFF2-40B4-BE49-F238E27FC236}">
                  <a16:creationId xmlns:a16="http://schemas.microsoft.com/office/drawing/2014/main" id="{C313232B-40DD-4D49-8A24-12F146837CCF}"/>
                </a:ext>
              </a:extLst>
            </p:cNvPr>
            <p:cNvSpPr/>
            <p:nvPr/>
          </p:nvSpPr>
          <p:spPr bwMode="auto">
            <a:xfrm>
              <a:off x="7071911" y="4528115"/>
              <a:ext cx="283851" cy="123289"/>
            </a:xfrm>
            <a:custGeom>
              <a:avLst/>
              <a:gdLst>
                <a:gd name="T0" fmla="*/ 150 w 183"/>
                <a:gd name="T1" fmla="*/ 78 h 79"/>
                <a:gd name="T2" fmla="*/ 26 w 183"/>
                <a:gd name="T3" fmla="*/ 65 h 79"/>
                <a:gd name="T4" fmla="*/ 1 w 183"/>
                <a:gd name="T5" fmla="*/ 34 h 79"/>
                <a:gd name="T6" fmla="*/ 2 w 183"/>
                <a:gd name="T7" fmla="*/ 27 h 79"/>
                <a:gd name="T8" fmla="*/ 33 w 183"/>
                <a:gd name="T9" fmla="*/ 2 h 79"/>
                <a:gd name="T10" fmla="*/ 156 w 183"/>
                <a:gd name="T11" fmla="*/ 15 h 79"/>
                <a:gd name="T12" fmla="*/ 182 w 183"/>
                <a:gd name="T13" fmla="*/ 46 h 79"/>
                <a:gd name="T14" fmla="*/ 181 w 183"/>
                <a:gd name="T15" fmla="*/ 52 h 79"/>
                <a:gd name="T16" fmla="*/ 150 w 183"/>
                <a:gd name="T17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3" h="79">
                  <a:moveTo>
                    <a:pt x="150" y="78"/>
                  </a:moveTo>
                  <a:cubicBezTo>
                    <a:pt x="26" y="65"/>
                    <a:pt x="26" y="65"/>
                    <a:pt x="26" y="65"/>
                  </a:cubicBezTo>
                  <a:cubicBezTo>
                    <a:pt x="11" y="63"/>
                    <a:pt x="0" y="49"/>
                    <a:pt x="1" y="3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3" y="12"/>
                    <a:pt x="17" y="0"/>
                    <a:pt x="33" y="2"/>
                  </a:cubicBezTo>
                  <a:cubicBezTo>
                    <a:pt x="156" y="15"/>
                    <a:pt x="156" y="15"/>
                    <a:pt x="156" y="15"/>
                  </a:cubicBezTo>
                  <a:cubicBezTo>
                    <a:pt x="172" y="16"/>
                    <a:pt x="183" y="30"/>
                    <a:pt x="182" y="46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79" y="68"/>
                    <a:pt x="165" y="79"/>
                    <a:pt x="150" y="7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3" name="iSliḑê">
              <a:extLst>
                <a:ext uri="{FF2B5EF4-FFF2-40B4-BE49-F238E27FC236}">
                  <a16:creationId xmlns:a16="http://schemas.microsoft.com/office/drawing/2014/main" id="{80ED1212-CED6-4076-A73A-CE60C8EEFEEE}"/>
                </a:ext>
              </a:extLst>
            </p:cNvPr>
            <p:cNvSpPr/>
            <p:nvPr/>
          </p:nvSpPr>
          <p:spPr bwMode="auto">
            <a:xfrm>
              <a:off x="7057576" y="4652838"/>
              <a:ext cx="286719" cy="120421"/>
            </a:xfrm>
            <a:custGeom>
              <a:avLst/>
              <a:gdLst>
                <a:gd name="T0" fmla="*/ 151 w 184"/>
                <a:gd name="T1" fmla="*/ 77 h 78"/>
                <a:gd name="T2" fmla="*/ 27 w 184"/>
                <a:gd name="T3" fmla="*/ 64 h 78"/>
                <a:gd name="T4" fmla="*/ 2 w 184"/>
                <a:gd name="T5" fmla="*/ 33 h 78"/>
                <a:gd name="T6" fmla="*/ 3 w 184"/>
                <a:gd name="T7" fmla="*/ 27 h 78"/>
                <a:gd name="T8" fmla="*/ 34 w 184"/>
                <a:gd name="T9" fmla="*/ 1 h 78"/>
                <a:gd name="T10" fmla="*/ 157 w 184"/>
                <a:gd name="T11" fmla="*/ 14 h 78"/>
                <a:gd name="T12" fmla="*/ 183 w 184"/>
                <a:gd name="T13" fmla="*/ 45 h 78"/>
                <a:gd name="T14" fmla="*/ 182 w 184"/>
                <a:gd name="T15" fmla="*/ 52 h 78"/>
                <a:gd name="T16" fmla="*/ 151 w 184"/>
                <a:gd name="T17" fmla="*/ 7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78">
                  <a:moveTo>
                    <a:pt x="151" y="77"/>
                  </a:moveTo>
                  <a:cubicBezTo>
                    <a:pt x="27" y="64"/>
                    <a:pt x="27" y="64"/>
                    <a:pt x="27" y="64"/>
                  </a:cubicBezTo>
                  <a:cubicBezTo>
                    <a:pt x="12" y="63"/>
                    <a:pt x="0" y="49"/>
                    <a:pt x="2" y="33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11"/>
                    <a:pt x="18" y="0"/>
                    <a:pt x="34" y="1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73" y="15"/>
                    <a:pt x="184" y="29"/>
                    <a:pt x="183" y="45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0" y="67"/>
                    <a:pt x="166" y="78"/>
                    <a:pt x="151" y="77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ïŝľïḋè">
              <a:extLst>
                <a:ext uri="{FF2B5EF4-FFF2-40B4-BE49-F238E27FC236}">
                  <a16:creationId xmlns:a16="http://schemas.microsoft.com/office/drawing/2014/main" id="{8787FEB0-6DE6-4EA9-8CD9-A76CF1759E05}"/>
                </a:ext>
              </a:extLst>
            </p:cNvPr>
            <p:cNvSpPr/>
            <p:nvPr/>
          </p:nvSpPr>
          <p:spPr bwMode="auto">
            <a:xfrm>
              <a:off x="7338559" y="4138179"/>
              <a:ext cx="81716" cy="126156"/>
            </a:xfrm>
            <a:custGeom>
              <a:avLst/>
              <a:gdLst>
                <a:gd name="T0" fmla="*/ 57 w 57"/>
                <a:gd name="T1" fmla="*/ 19 h 88"/>
                <a:gd name="T2" fmla="*/ 35 w 57"/>
                <a:gd name="T3" fmla="*/ 0 h 88"/>
                <a:gd name="T4" fmla="*/ 0 w 57"/>
                <a:gd name="T5" fmla="*/ 21 h 88"/>
                <a:gd name="T6" fmla="*/ 2 w 57"/>
                <a:gd name="T7" fmla="*/ 76 h 88"/>
                <a:gd name="T8" fmla="*/ 35 w 57"/>
                <a:gd name="T9" fmla="*/ 88 h 88"/>
                <a:gd name="T10" fmla="*/ 57 w 57"/>
                <a:gd name="T11" fmla="*/ 1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88">
                  <a:moveTo>
                    <a:pt x="57" y="19"/>
                  </a:moveTo>
                  <a:lnTo>
                    <a:pt x="35" y="0"/>
                  </a:lnTo>
                  <a:lnTo>
                    <a:pt x="0" y="21"/>
                  </a:lnTo>
                  <a:lnTo>
                    <a:pt x="2" y="76"/>
                  </a:lnTo>
                  <a:lnTo>
                    <a:pt x="35" y="88"/>
                  </a:lnTo>
                  <a:lnTo>
                    <a:pt x="57" y="19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iṡ1ïḋe">
              <a:extLst>
                <a:ext uri="{FF2B5EF4-FFF2-40B4-BE49-F238E27FC236}">
                  <a16:creationId xmlns:a16="http://schemas.microsoft.com/office/drawing/2014/main" id="{6FD9B40F-71E2-4A9A-8E90-5C3BDB9FF3AD}"/>
                </a:ext>
              </a:extLst>
            </p:cNvPr>
            <p:cNvSpPr/>
            <p:nvPr/>
          </p:nvSpPr>
          <p:spPr bwMode="auto">
            <a:xfrm>
              <a:off x="10058080" y="4287272"/>
              <a:ext cx="153395" cy="90317"/>
            </a:xfrm>
            <a:custGeom>
              <a:avLst/>
              <a:gdLst>
                <a:gd name="T0" fmla="*/ 76 w 98"/>
                <a:gd name="T1" fmla="*/ 0 h 58"/>
                <a:gd name="T2" fmla="*/ 51 w 98"/>
                <a:gd name="T3" fmla="*/ 5 h 58"/>
                <a:gd name="T4" fmla="*/ 4 w 98"/>
                <a:gd name="T5" fmla="*/ 50 h 58"/>
                <a:gd name="T6" fmla="*/ 47 w 98"/>
                <a:gd name="T7" fmla="*/ 57 h 58"/>
                <a:gd name="T8" fmla="*/ 73 w 98"/>
                <a:gd name="T9" fmla="*/ 39 h 58"/>
                <a:gd name="T10" fmla="*/ 87 w 98"/>
                <a:gd name="T11" fmla="*/ 44 h 58"/>
                <a:gd name="T12" fmla="*/ 98 w 98"/>
                <a:gd name="T13" fmla="*/ 29 h 58"/>
                <a:gd name="T14" fmla="*/ 76 w 98"/>
                <a:gd name="T1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58">
                  <a:moveTo>
                    <a:pt x="76" y="0"/>
                  </a:moveTo>
                  <a:cubicBezTo>
                    <a:pt x="76" y="0"/>
                    <a:pt x="51" y="5"/>
                    <a:pt x="51" y="5"/>
                  </a:cubicBezTo>
                  <a:cubicBezTo>
                    <a:pt x="41" y="8"/>
                    <a:pt x="10" y="42"/>
                    <a:pt x="4" y="50"/>
                  </a:cubicBezTo>
                  <a:cubicBezTo>
                    <a:pt x="0" y="54"/>
                    <a:pt x="43" y="58"/>
                    <a:pt x="47" y="57"/>
                  </a:cubicBezTo>
                  <a:cubicBezTo>
                    <a:pt x="54" y="56"/>
                    <a:pt x="66" y="43"/>
                    <a:pt x="73" y="39"/>
                  </a:cubicBezTo>
                  <a:cubicBezTo>
                    <a:pt x="87" y="44"/>
                    <a:pt x="87" y="44"/>
                    <a:pt x="87" y="44"/>
                  </a:cubicBezTo>
                  <a:cubicBezTo>
                    <a:pt x="98" y="29"/>
                    <a:pt x="98" y="29"/>
                    <a:pt x="98" y="29"/>
                  </a:cubicBezTo>
                  <a:lnTo>
                    <a:pt x="76" y="0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6" name="ïṩľiďè">
              <a:extLst>
                <a:ext uri="{FF2B5EF4-FFF2-40B4-BE49-F238E27FC236}">
                  <a16:creationId xmlns:a16="http://schemas.microsoft.com/office/drawing/2014/main" id="{0CC39143-13BA-41DA-BE42-2F79149CD031}"/>
                </a:ext>
              </a:extLst>
            </p:cNvPr>
            <p:cNvSpPr/>
            <p:nvPr/>
          </p:nvSpPr>
          <p:spPr bwMode="auto">
            <a:xfrm>
              <a:off x="11021454" y="5710828"/>
              <a:ext cx="130457" cy="141926"/>
            </a:xfrm>
            <a:custGeom>
              <a:avLst/>
              <a:gdLst>
                <a:gd name="T0" fmla="*/ 87 w 91"/>
                <a:gd name="T1" fmla="*/ 30 h 99"/>
                <a:gd name="T2" fmla="*/ 91 w 91"/>
                <a:gd name="T3" fmla="*/ 61 h 99"/>
                <a:gd name="T4" fmla="*/ 34 w 91"/>
                <a:gd name="T5" fmla="*/ 99 h 99"/>
                <a:gd name="T6" fmla="*/ 0 w 91"/>
                <a:gd name="T7" fmla="*/ 73 h 99"/>
                <a:gd name="T8" fmla="*/ 26 w 91"/>
                <a:gd name="T9" fmla="*/ 38 h 99"/>
                <a:gd name="T10" fmla="*/ 84 w 91"/>
                <a:gd name="T11" fmla="*/ 0 h 99"/>
                <a:gd name="T12" fmla="*/ 87 w 91"/>
                <a:gd name="T13" fmla="*/ 3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99">
                  <a:moveTo>
                    <a:pt x="87" y="30"/>
                  </a:moveTo>
                  <a:lnTo>
                    <a:pt x="91" y="61"/>
                  </a:lnTo>
                  <a:lnTo>
                    <a:pt x="34" y="99"/>
                  </a:lnTo>
                  <a:lnTo>
                    <a:pt x="0" y="73"/>
                  </a:lnTo>
                  <a:lnTo>
                    <a:pt x="26" y="38"/>
                  </a:lnTo>
                  <a:lnTo>
                    <a:pt x="84" y="0"/>
                  </a:lnTo>
                  <a:lnTo>
                    <a:pt x="87" y="30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7" name="íṣļîdê">
              <a:extLst>
                <a:ext uri="{FF2B5EF4-FFF2-40B4-BE49-F238E27FC236}">
                  <a16:creationId xmlns:a16="http://schemas.microsoft.com/office/drawing/2014/main" id="{A9A9311A-6848-4495-B4CB-0853C627BEB3}"/>
                </a:ext>
              </a:extLst>
            </p:cNvPr>
            <p:cNvSpPr/>
            <p:nvPr/>
          </p:nvSpPr>
          <p:spPr bwMode="auto">
            <a:xfrm>
              <a:off x="10794946" y="4416296"/>
              <a:ext cx="367000" cy="1351876"/>
            </a:xfrm>
            <a:custGeom>
              <a:avLst/>
              <a:gdLst>
                <a:gd name="T0" fmla="*/ 247 w 256"/>
                <a:gd name="T1" fmla="*/ 924 h 943"/>
                <a:gd name="T2" fmla="*/ 202 w 256"/>
                <a:gd name="T3" fmla="*/ 536 h 943"/>
                <a:gd name="T4" fmla="*/ 256 w 256"/>
                <a:gd name="T5" fmla="*/ 102 h 943"/>
                <a:gd name="T6" fmla="*/ 244 w 256"/>
                <a:gd name="T7" fmla="*/ 10 h 943"/>
                <a:gd name="T8" fmla="*/ 8 w 256"/>
                <a:gd name="T9" fmla="*/ 0 h 943"/>
                <a:gd name="T10" fmla="*/ 0 w 256"/>
                <a:gd name="T11" fmla="*/ 151 h 943"/>
                <a:gd name="T12" fmla="*/ 39 w 256"/>
                <a:gd name="T13" fmla="*/ 537 h 943"/>
                <a:gd name="T14" fmla="*/ 188 w 256"/>
                <a:gd name="T15" fmla="*/ 943 h 943"/>
                <a:gd name="T16" fmla="*/ 247 w 256"/>
                <a:gd name="T17" fmla="*/ 924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6" h="943">
                  <a:moveTo>
                    <a:pt x="247" y="924"/>
                  </a:moveTo>
                  <a:lnTo>
                    <a:pt x="202" y="536"/>
                  </a:lnTo>
                  <a:lnTo>
                    <a:pt x="256" y="102"/>
                  </a:lnTo>
                  <a:lnTo>
                    <a:pt x="244" y="10"/>
                  </a:lnTo>
                  <a:lnTo>
                    <a:pt x="8" y="0"/>
                  </a:lnTo>
                  <a:lnTo>
                    <a:pt x="0" y="151"/>
                  </a:lnTo>
                  <a:lnTo>
                    <a:pt x="39" y="537"/>
                  </a:lnTo>
                  <a:lnTo>
                    <a:pt x="188" y="943"/>
                  </a:lnTo>
                  <a:lnTo>
                    <a:pt x="247" y="924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8" name="íṩḻíḓê">
              <a:extLst>
                <a:ext uri="{FF2B5EF4-FFF2-40B4-BE49-F238E27FC236}">
                  <a16:creationId xmlns:a16="http://schemas.microsoft.com/office/drawing/2014/main" id="{C0C1B5E1-BA0E-4B4F-B1D0-0B6E0807FD3F}"/>
                </a:ext>
              </a:extLst>
            </p:cNvPr>
            <p:cNvSpPr/>
            <p:nvPr/>
          </p:nvSpPr>
          <p:spPr bwMode="auto">
            <a:xfrm>
              <a:off x="10162734" y="3815621"/>
              <a:ext cx="589206" cy="541897"/>
            </a:xfrm>
            <a:custGeom>
              <a:avLst/>
              <a:gdLst>
                <a:gd name="T0" fmla="*/ 411 w 411"/>
                <a:gd name="T1" fmla="*/ 0 h 378"/>
                <a:gd name="T2" fmla="*/ 305 w 411"/>
                <a:gd name="T3" fmla="*/ 62 h 378"/>
                <a:gd name="T4" fmla="*/ 239 w 411"/>
                <a:gd name="T5" fmla="*/ 179 h 378"/>
                <a:gd name="T6" fmla="*/ 0 w 411"/>
                <a:gd name="T7" fmla="*/ 323 h 378"/>
                <a:gd name="T8" fmla="*/ 35 w 411"/>
                <a:gd name="T9" fmla="*/ 378 h 378"/>
                <a:gd name="T10" fmla="*/ 241 w 411"/>
                <a:gd name="T11" fmla="*/ 310 h 378"/>
                <a:gd name="T12" fmla="*/ 346 w 411"/>
                <a:gd name="T13" fmla="*/ 256 h 378"/>
                <a:gd name="T14" fmla="*/ 411 w 411"/>
                <a:gd name="T15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1" h="378">
                  <a:moveTo>
                    <a:pt x="411" y="0"/>
                  </a:moveTo>
                  <a:lnTo>
                    <a:pt x="305" y="62"/>
                  </a:lnTo>
                  <a:lnTo>
                    <a:pt x="239" y="179"/>
                  </a:lnTo>
                  <a:lnTo>
                    <a:pt x="0" y="323"/>
                  </a:lnTo>
                  <a:lnTo>
                    <a:pt x="35" y="378"/>
                  </a:lnTo>
                  <a:lnTo>
                    <a:pt x="241" y="310"/>
                  </a:lnTo>
                  <a:lnTo>
                    <a:pt x="346" y="256"/>
                  </a:lnTo>
                  <a:lnTo>
                    <a:pt x="411" y="0"/>
                  </a:ln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9" name="îşľïdé">
              <a:extLst>
                <a:ext uri="{FF2B5EF4-FFF2-40B4-BE49-F238E27FC236}">
                  <a16:creationId xmlns:a16="http://schemas.microsoft.com/office/drawing/2014/main" id="{EF133A81-036E-4068-85BA-72ECA0FE919A}"/>
                </a:ext>
              </a:extLst>
            </p:cNvPr>
            <p:cNvSpPr/>
            <p:nvPr/>
          </p:nvSpPr>
          <p:spPr bwMode="auto">
            <a:xfrm>
              <a:off x="10558404" y="4426331"/>
              <a:ext cx="342629" cy="1336106"/>
            </a:xfrm>
            <a:custGeom>
              <a:avLst/>
              <a:gdLst>
                <a:gd name="T0" fmla="*/ 0 w 239"/>
                <a:gd name="T1" fmla="*/ 38 h 932"/>
                <a:gd name="T2" fmla="*/ 0 w 239"/>
                <a:gd name="T3" fmla="*/ 428 h 932"/>
                <a:gd name="T4" fmla="*/ 78 w 239"/>
                <a:gd name="T5" fmla="*/ 932 h 932"/>
                <a:gd name="T6" fmla="*/ 135 w 239"/>
                <a:gd name="T7" fmla="*/ 931 h 932"/>
                <a:gd name="T8" fmla="*/ 166 w 239"/>
                <a:gd name="T9" fmla="*/ 466 h 932"/>
                <a:gd name="T10" fmla="*/ 239 w 239"/>
                <a:gd name="T11" fmla="*/ 0 h 932"/>
                <a:gd name="T12" fmla="*/ 0 w 239"/>
                <a:gd name="T13" fmla="*/ 38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9" h="932">
                  <a:moveTo>
                    <a:pt x="0" y="38"/>
                  </a:moveTo>
                  <a:lnTo>
                    <a:pt x="0" y="428"/>
                  </a:lnTo>
                  <a:lnTo>
                    <a:pt x="78" y="932"/>
                  </a:lnTo>
                  <a:lnTo>
                    <a:pt x="135" y="931"/>
                  </a:lnTo>
                  <a:lnTo>
                    <a:pt x="166" y="466"/>
                  </a:lnTo>
                  <a:lnTo>
                    <a:pt x="239" y="0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353A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0" name="ïṥ1iḓè">
              <a:extLst>
                <a:ext uri="{FF2B5EF4-FFF2-40B4-BE49-F238E27FC236}">
                  <a16:creationId xmlns:a16="http://schemas.microsoft.com/office/drawing/2014/main" id="{8B3B739A-4035-473E-9D2C-814CA33B66F8}"/>
                </a:ext>
              </a:extLst>
            </p:cNvPr>
            <p:cNvSpPr/>
            <p:nvPr/>
          </p:nvSpPr>
          <p:spPr bwMode="auto">
            <a:xfrm>
              <a:off x="10620048" y="5750969"/>
              <a:ext cx="131890" cy="88882"/>
            </a:xfrm>
            <a:custGeom>
              <a:avLst/>
              <a:gdLst>
                <a:gd name="T0" fmla="*/ 92 w 92"/>
                <a:gd name="T1" fmla="*/ 30 h 62"/>
                <a:gd name="T2" fmla="*/ 30 w 92"/>
                <a:gd name="T3" fmla="*/ 62 h 62"/>
                <a:gd name="T4" fmla="*/ 0 w 92"/>
                <a:gd name="T5" fmla="*/ 32 h 62"/>
                <a:gd name="T6" fmla="*/ 30 w 92"/>
                <a:gd name="T7" fmla="*/ 1 h 62"/>
                <a:gd name="T8" fmla="*/ 91 w 92"/>
                <a:gd name="T9" fmla="*/ 0 h 62"/>
                <a:gd name="T10" fmla="*/ 92 w 92"/>
                <a:gd name="T11" fmla="*/ 3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2" h="62">
                  <a:moveTo>
                    <a:pt x="92" y="30"/>
                  </a:moveTo>
                  <a:lnTo>
                    <a:pt x="30" y="62"/>
                  </a:lnTo>
                  <a:lnTo>
                    <a:pt x="0" y="32"/>
                  </a:lnTo>
                  <a:lnTo>
                    <a:pt x="30" y="1"/>
                  </a:lnTo>
                  <a:lnTo>
                    <a:pt x="91" y="0"/>
                  </a:lnTo>
                  <a:lnTo>
                    <a:pt x="92" y="3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1" name="ï$ľîḓè">
              <a:extLst>
                <a:ext uri="{FF2B5EF4-FFF2-40B4-BE49-F238E27FC236}">
                  <a16:creationId xmlns:a16="http://schemas.microsoft.com/office/drawing/2014/main" id="{2AEFEC0D-3BB4-4469-897C-1B983FF55946}"/>
                </a:ext>
              </a:extLst>
            </p:cNvPr>
            <p:cNvSpPr/>
            <p:nvPr/>
          </p:nvSpPr>
          <p:spPr bwMode="auto">
            <a:xfrm>
              <a:off x="10349099" y="3786949"/>
              <a:ext cx="850120" cy="1007815"/>
            </a:xfrm>
            <a:custGeom>
              <a:avLst/>
              <a:gdLst>
                <a:gd name="T0" fmla="*/ 545 w 546"/>
                <a:gd name="T1" fmla="*/ 568 h 648"/>
                <a:gd name="T2" fmla="*/ 543 w 546"/>
                <a:gd name="T3" fmla="*/ 535 h 648"/>
                <a:gd name="T4" fmla="*/ 533 w 546"/>
                <a:gd name="T5" fmla="*/ 409 h 648"/>
                <a:gd name="T6" fmla="*/ 516 w 546"/>
                <a:gd name="T7" fmla="*/ 242 h 648"/>
                <a:gd name="T8" fmla="*/ 479 w 546"/>
                <a:gd name="T9" fmla="*/ 107 h 648"/>
                <a:gd name="T10" fmla="*/ 311 w 546"/>
                <a:gd name="T11" fmla="*/ 9 h 648"/>
                <a:gd name="T12" fmla="*/ 181 w 546"/>
                <a:gd name="T13" fmla="*/ 85 h 648"/>
                <a:gd name="T14" fmla="*/ 175 w 546"/>
                <a:gd name="T15" fmla="*/ 123 h 648"/>
                <a:gd name="T16" fmla="*/ 168 w 546"/>
                <a:gd name="T17" fmla="*/ 161 h 648"/>
                <a:gd name="T18" fmla="*/ 161 w 546"/>
                <a:gd name="T19" fmla="*/ 190 h 648"/>
                <a:gd name="T20" fmla="*/ 161 w 546"/>
                <a:gd name="T21" fmla="*/ 190 h 648"/>
                <a:gd name="T22" fmla="*/ 89 w 546"/>
                <a:gd name="T23" fmla="*/ 430 h 648"/>
                <a:gd name="T24" fmla="*/ 100 w 546"/>
                <a:gd name="T25" fmla="*/ 567 h 648"/>
                <a:gd name="T26" fmla="*/ 154 w 546"/>
                <a:gd name="T27" fmla="*/ 581 h 648"/>
                <a:gd name="T28" fmla="*/ 277 w 546"/>
                <a:gd name="T29" fmla="*/ 573 h 648"/>
                <a:gd name="T30" fmla="*/ 392 w 546"/>
                <a:gd name="T31" fmla="*/ 583 h 648"/>
                <a:gd name="T32" fmla="*/ 466 w 546"/>
                <a:gd name="T33" fmla="*/ 606 h 648"/>
                <a:gd name="T34" fmla="*/ 526 w 546"/>
                <a:gd name="T35" fmla="*/ 645 h 648"/>
                <a:gd name="T36" fmla="*/ 533 w 546"/>
                <a:gd name="T37" fmla="*/ 647 h 648"/>
                <a:gd name="T38" fmla="*/ 545 w 546"/>
                <a:gd name="T39" fmla="*/ 568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6" h="648">
                  <a:moveTo>
                    <a:pt x="545" y="568"/>
                  </a:moveTo>
                  <a:cubicBezTo>
                    <a:pt x="544" y="553"/>
                    <a:pt x="543" y="540"/>
                    <a:pt x="543" y="535"/>
                  </a:cubicBezTo>
                  <a:cubicBezTo>
                    <a:pt x="542" y="493"/>
                    <a:pt x="538" y="451"/>
                    <a:pt x="533" y="409"/>
                  </a:cubicBezTo>
                  <a:cubicBezTo>
                    <a:pt x="528" y="372"/>
                    <a:pt x="522" y="280"/>
                    <a:pt x="516" y="242"/>
                  </a:cubicBezTo>
                  <a:cubicBezTo>
                    <a:pt x="511" y="212"/>
                    <a:pt x="492" y="135"/>
                    <a:pt x="479" y="107"/>
                  </a:cubicBezTo>
                  <a:cubicBezTo>
                    <a:pt x="446" y="36"/>
                    <a:pt x="456" y="30"/>
                    <a:pt x="311" y="9"/>
                  </a:cubicBezTo>
                  <a:cubicBezTo>
                    <a:pt x="248" y="0"/>
                    <a:pt x="233" y="39"/>
                    <a:pt x="181" y="85"/>
                  </a:cubicBezTo>
                  <a:cubicBezTo>
                    <a:pt x="176" y="89"/>
                    <a:pt x="176" y="116"/>
                    <a:pt x="175" y="123"/>
                  </a:cubicBezTo>
                  <a:cubicBezTo>
                    <a:pt x="173" y="136"/>
                    <a:pt x="170" y="148"/>
                    <a:pt x="168" y="161"/>
                  </a:cubicBezTo>
                  <a:cubicBezTo>
                    <a:pt x="166" y="170"/>
                    <a:pt x="164" y="180"/>
                    <a:pt x="161" y="190"/>
                  </a:cubicBezTo>
                  <a:cubicBezTo>
                    <a:pt x="161" y="190"/>
                    <a:pt x="161" y="190"/>
                    <a:pt x="161" y="190"/>
                  </a:cubicBezTo>
                  <a:cubicBezTo>
                    <a:pt x="161" y="190"/>
                    <a:pt x="117" y="388"/>
                    <a:pt x="89" y="430"/>
                  </a:cubicBezTo>
                  <a:cubicBezTo>
                    <a:pt x="60" y="472"/>
                    <a:pt x="0" y="531"/>
                    <a:pt x="100" y="567"/>
                  </a:cubicBezTo>
                  <a:cubicBezTo>
                    <a:pt x="118" y="573"/>
                    <a:pt x="135" y="578"/>
                    <a:pt x="154" y="581"/>
                  </a:cubicBezTo>
                  <a:cubicBezTo>
                    <a:pt x="154" y="581"/>
                    <a:pt x="235" y="572"/>
                    <a:pt x="277" y="573"/>
                  </a:cubicBezTo>
                  <a:cubicBezTo>
                    <a:pt x="316" y="573"/>
                    <a:pt x="355" y="577"/>
                    <a:pt x="392" y="583"/>
                  </a:cubicBezTo>
                  <a:cubicBezTo>
                    <a:pt x="418" y="588"/>
                    <a:pt x="444" y="594"/>
                    <a:pt x="466" y="606"/>
                  </a:cubicBezTo>
                  <a:cubicBezTo>
                    <a:pt x="488" y="617"/>
                    <a:pt x="504" y="634"/>
                    <a:pt x="526" y="645"/>
                  </a:cubicBezTo>
                  <a:cubicBezTo>
                    <a:pt x="528" y="646"/>
                    <a:pt x="530" y="648"/>
                    <a:pt x="533" y="647"/>
                  </a:cubicBezTo>
                  <a:cubicBezTo>
                    <a:pt x="545" y="646"/>
                    <a:pt x="546" y="601"/>
                    <a:pt x="545" y="568"/>
                  </a:cubicBez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2" name="iS1ïḓe">
              <a:extLst>
                <a:ext uri="{FF2B5EF4-FFF2-40B4-BE49-F238E27FC236}">
                  <a16:creationId xmlns:a16="http://schemas.microsoft.com/office/drawing/2014/main" id="{4E2ED682-BB24-4929-AAE1-FBFA9A1F20DA}"/>
                </a:ext>
              </a:extLst>
            </p:cNvPr>
            <p:cNvSpPr/>
            <p:nvPr/>
          </p:nvSpPr>
          <p:spPr bwMode="auto">
            <a:xfrm>
              <a:off x="10753372" y="3538938"/>
              <a:ext cx="219340" cy="285285"/>
            </a:xfrm>
            <a:custGeom>
              <a:avLst/>
              <a:gdLst>
                <a:gd name="T0" fmla="*/ 57 w 141"/>
                <a:gd name="T1" fmla="*/ 177 h 184"/>
                <a:gd name="T2" fmla="*/ 99 w 141"/>
                <a:gd name="T3" fmla="*/ 178 h 184"/>
                <a:gd name="T4" fmla="*/ 106 w 141"/>
                <a:gd name="T5" fmla="*/ 170 h 184"/>
                <a:gd name="T6" fmla="*/ 106 w 141"/>
                <a:gd name="T7" fmla="*/ 137 h 184"/>
                <a:gd name="T8" fmla="*/ 139 w 141"/>
                <a:gd name="T9" fmla="*/ 113 h 184"/>
                <a:gd name="T10" fmla="*/ 140 w 141"/>
                <a:gd name="T11" fmla="*/ 100 h 184"/>
                <a:gd name="T12" fmla="*/ 135 w 141"/>
                <a:gd name="T13" fmla="*/ 44 h 184"/>
                <a:gd name="T14" fmla="*/ 130 w 141"/>
                <a:gd name="T15" fmla="*/ 25 h 184"/>
                <a:gd name="T16" fmla="*/ 103 w 141"/>
                <a:gd name="T17" fmla="*/ 8 h 184"/>
                <a:gd name="T18" fmla="*/ 20 w 141"/>
                <a:gd name="T19" fmla="*/ 21 h 184"/>
                <a:gd name="T20" fmla="*/ 5 w 141"/>
                <a:gd name="T21" fmla="*/ 38 h 184"/>
                <a:gd name="T22" fmla="*/ 4 w 141"/>
                <a:gd name="T23" fmla="*/ 73 h 184"/>
                <a:gd name="T24" fmla="*/ 10 w 141"/>
                <a:gd name="T25" fmla="*/ 105 h 184"/>
                <a:gd name="T26" fmla="*/ 27 w 141"/>
                <a:gd name="T27" fmla="*/ 137 h 184"/>
                <a:gd name="T28" fmla="*/ 46 w 141"/>
                <a:gd name="T29" fmla="*/ 144 h 184"/>
                <a:gd name="T30" fmla="*/ 57 w 141"/>
                <a:gd name="T31" fmla="*/ 17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1" h="184">
                  <a:moveTo>
                    <a:pt x="57" y="177"/>
                  </a:moveTo>
                  <a:cubicBezTo>
                    <a:pt x="64" y="181"/>
                    <a:pt x="81" y="184"/>
                    <a:pt x="99" y="178"/>
                  </a:cubicBezTo>
                  <a:cubicBezTo>
                    <a:pt x="103" y="177"/>
                    <a:pt x="106" y="174"/>
                    <a:pt x="106" y="170"/>
                  </a:cubicBezTo>
                  <a:cubicBezTo>
                    <a:pt x="107" y="159"/>
                    <a:pt x="107" y="148"/>
                    <a:pt x="106" y="137"/>
                  </a:cubicBezTo>
                  <a:cubicBezTo>
                    <a:pt x="120" y="133"/>
                    <a:pt x="136" y="127"/>
                    <a:pt x="139" y="113"/>
                  </a:cubicBezTo>
                  <a:cubicBezTo>
                    <a:pt x="141" y="109"/>
                    <a:pt x="140" y="104"/>
                    <a:pt x="140" y="100"/>
                  </a:cubicBezTo>
                  <a:cubicBezTo>
                    <a:pt x="138" y="81"/>
                    <a:pt x="136" y="63"/>
                    <a:pt x="135" y="44"/>
                  </a:cubicBezTo>
                  <a:cubicBezTo>
                    <a:pt x="134" y="38"/>
                    <a:pt x="133" y="31"/>
                    <a:pt x="130" y="25"/>
                  </a:cubicBezTo>
                  <a:cubicBezTo>
                    <a:pt x="125" y="15"/>
                    <a:pt x="114" y="10"/>
                    <a:pt x="103" y="8"/>
                  </a:cubicBezTo>
                  <a:cubicBezTo>
                    <a:pt x="75" y="0"/>
                    <a:pt x="43" y="4"/>
                    <a:pt x="20" y="21"/>
                  </a:cubicBezTo>
                  <a:cubicBezTo>
                    <a:pt x="14" y="25"/>
                    <a:pt x="8" y="31"/>
                    <a:pt x="5" y="38"/>
                  </a:cubicBezTo>
                  <a:cubicBezTo>
                    <a:pt x="0" y="49"/>
                    <a:pt x="2" y="61"/>
                    <a:pt x="4" y="73"/>
                  </a:cubicBezTo>
                  <a:cubicBezTo>
                    <a:pt x="6" y="84"/>
                    <a:pt x="8" y="94"/>
                    <a:pt x="10" y="105"/>
                  </a:cubicBezTo>
                  <a:cubicBezTo>
                    <a:pt x="12" y="118"/>
                    <a:pt x="15" y="132"/>
                    <a:pt x="27" y="137"/>
                  </a:cubicBezTo>
                  <a:cubicBezTo>
                    <a:pt x="33" y="140"/>
                    <a:pt x="40" y="140"/>
                    <a:pt x="46" y="144"/>
                  </a:cubicBezTo>
                  <a:cubicBezTo>
                    <a:pt x="55" y="151"/>
                    <a:pt x="52" y="166"/>
                    <a:pt x="57" y="177"/>
                  </a:cubicBez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3" name="íṡļîḑê">
              <a:extLst>
                <a:ext uri="{FF2B5EF4-FFF2-40B4-BE49-F238E27FC236}">
                  <a16:creationId xmlns:a16="http://schemas.microsoft.com/office/drawing/2014/main" id="{F68895B0-1CEF-4FD5-9511-7F677FE1950A}"/>
                </a:ext>
              </a:extLst>
            </p:cNvPr>
            <p:cNvSpPr/>
            <p:nvPr/>
          </p:nvSpPr>
          <p:spPr bwMode="auto">
            <a:xfrm>
              <a:off x="10556970" y="3371208"/>
              <a:ext cx="527562" cy="359832"/>
            </a:xfrm>
            <a:custGeom>
              <a:avLst/>
              <a:gdLst>
                <a:gd name="T0" fmla="*/ 34 w 340"/>
                <a:gd name="T1" fmla="*/ 89 h 232"/>
                <a:gd name="T2" fmla="*/ 26 w 340"/>
                <a:gd name="T3" fmla="*/ 75 h 232"/>
                <a:gd name="T4" fmla="*/ 6 w 340"/>
                <a:gd name="T5" fmla="*/ 47 h 232"/>
                <a:gd name="T6" fmla="*/ 8 w 340"/>
                <a:gd name="T7" fmla="*/ 14 h 232"/>
                <a:gd name="T8" fmla="*/ 28 w 340"/>
                <a:gd name="T9" fmla="*/ 5 h 232"/>
                <a:gd name="T10" fmla="*/ 101 w 340"/>
                <a:gd name="T11" fmla="*/ 9 h 232"/>
                <a:gd name="T12" fmla="*/ 166 w 340"/>
                <a:gd name="T13" fmla="*/ 21 h 232"/>
                <a:gd name="T14" fmla="*/ 225 w 340"/>
                <a:gd name="T15" fmla="*/ 29 h 232"/>
                <a:gd name="T16" fmla="*/ 302 w 340"/>
                <a:gd name="T17" fmla="*/ 58 h 232"/>
                <a:gd name="T18" fmla="*/ 323 w 340"/>
                <a:gd name="T19" fmla="*/ 82 h 232"/>
                <a:gd name="T20" fmla="*/ 315 w 340"/>
                <a:gd name="T21" fmla="*/ 185 h 232"/>
                <a:gd name="T22" fmla="*/ 298 w 340"/>
                <a:gd name="T23" fmla="*/ 203 h 232"/>
                <a:gd name="T24" fmla="*/ 255 w 340"/>
                <a:gd name="T25" fmla="*/ 232 h 232"/>
                <a:gd name="T26" fmla="*/ 262 w 340"/>
                <a:gd name="T27" fmla="*/ 162 h 232"/>
                <a:gd name="T28" fmla="*/ 185 w 340"/>
                <a:gd name="T29" fmla="*/ 149 h 232"/>
                <a:gd name="T30" fmla="*/ 116 w 340"/>
                <a:gd name="T31" fmla="*/ 168 h 232"/>
                <a:gd name="T32" fmla="*/ 65 w 340"/>
                <a:gd name="T33" fmla="*/ 150 h 232"/>
                <a:gd name="T34" fmla="*/ 34 w 340"/>
                <a:gd name="T35" fmla="*/ 89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0" h="232">
                  <a:moveTo>
                    <a:pt x="34" y="89"/>
                  </a:moveTo>
                  <a:cubicBezTo>
                    <a:pt x="32" y="84"/>
                    <a:pt x="29" y="80"/>
                    <a:pt x="26" y="75"/>
                  </a:cubicBezTo>
                  <a:cubicBezTo>
                    <a:pt x="20" y="66"/>
                    <a:pt x="11" y="57"/>
                    <a:pt x="6" y="47"/>
                  </a:cubicBezTo>
                  <a:cubicBezTo>
                    <a:pt x="1" y="36"/>
                    <a:pt x="0" y="23"/>
                    <a:pt x="8" y="14"/>
                  </a:cubicBezTo>
                  <a:cubicBezTo>
                    <a:pt x="13" y="9"/>
                    <a:pt x="21" y="6"/>
                    <a:pt x="28" y="5"/>
                  </a:cubicBezTo>
                  <a:cubicBezTo>
                    <a:pt x="52" y="0"/>
                    <a:pt x="78" y="1"/>
                    <a:pt x="101" y="9"/>
                  </a:cubicBezTo>
                  <a:cubicBezTo>
                    <a:pt x="123" y="17"/>
                    <a:pt x="143" y="28"/>
                    <a:pt x="166" y="21"/>
                  </a:cubicBezTo>
                  <a:cubicBezTo>
                    <a:pt x="188" y="15"/>
                    <a:pt x="203" y="19"/>
                    <a:pt x="225" y="29"/>
                  </a:cubicBezTo>
                  <a:cubicBezTo>
                    <a:pt x="249" y="40"/>
                    <a:pt x="281" y="44"/>
                    <a:pt x="302" y="58"/>
                  </a:cubicBezTo>
                  <a:cubicBezTo>
                    <a:pt x="311" y="64"/>
                    <a:pt x="318" y="73"/>
                    <a:pt x="323" y="82"/>
                  </a:cubicBezTo>
                  <a:cubicBezTo>
                    <a:pt x="340" y="114"/>
                    <a:pt x="337" y="156"/>
                    <a:pt x="315" y="185"/>
                  </a:cubicBezTo>
                  <a:cubicBezTo>
                    <a:pt x="310" y="192"/>
                    <a:pt x="304" y="197"/>
                    <a:pt x="298" y="203"/>
                  </a:cubicBezTo>
                  <a:cubicBezTo>
                    <a:pt x="286" y="214"/>
                    <a:pt x="271" y="229"/>
                    <a:pt x="255" y="232"/>
                  </a:cubicBezTo>
                  <a:cubicBezTo>
                    <a:pt x="255" y="218"/>
                    <a:pt x="272" y="175"/>
                    <a:pt x="262" y="162"/>
                  </a:cubicBezTo>
                  <a:cubicBezTo>
                    <a:pt x="246" y="143"/>
                    <a:pt x="207" y="146"/>
                    <a:pt x="185" y="149"/>
                  </a:cubicBezTo>
                  <a:cubicBezTo>
                    <a:pt x="161" y="152"/>
                    <a:pt x="139" y="167"/>
                    <a:pt x="116" y="168"/>
                  </a:cubicBezTo>
                  <a:cubicBezTo>
                    <a:pt x="99" y="169"/>
                    <a:pt x="79" y="160"/>
                    <a:pt x="65" y="150"/>
                  </a:cubicBezTo>
                  <a:cubicBezTo>
                    <a:pt x="49" y="138"/>
                    <a:pt x="43" y="107"/>
                    <a:pt x="34" y="89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4" name="íŝļíḍè">
              <a:extLst>
                <a:ext uri="{FF2B5EF4-FFF2-40B4-BE49-F238E27FC236}">
                  <a16:creationId xmlns:a16="http://schemas.microsoft.com/office/drawing/2014/main" id="{77687531-D3AB-4869-9187-3C11D7A10AE9}"/>
                </a:ext>
              </a:extLst>
            </p:cNvPr>
            <p:cNvSpPr/>
            <p:nvPr/>
          </p:nvSpPr>
          <p:spPr bwMode="auto">
            <a:xfrm>
              <a:off x="11014286" y="3528904"/>
              <a:ext cx="322558" cy="579170"/>
            </a:xfrm>
            <a:custGeom>
              <a:avLst/>
              <a:gdLst>
                <a:gd name="T0" fmla="*/ 0 w 225"/>
                <a:gd name="T1" fmla="*/ 218 h 404"/>
                <a:gd name="T2" fmla="*/ 111 w 225"/>
                <a:gd name="T3" fmla="*/ 246 h 404"/>
                <a:gd name="T4" fmla="*/ 26 w 225"/>
                <a:gd name="T5" fmla="*/ 67 h 404"/>
                <a:gd name="T6" fmla="*/ 57 w 225"/>
                <a:gd name="T7" fmla="*/ 0 h 404"/>
                <a:gd name="T8" fmla="*/ 225 w 225"/>
                <a:gd name="T9" fmla="*/ 265 h 404"/>
                <a:gd name="T10" fmla="*/ 205 w 225"/>
                <a:gd name="T11" fmla="*/ 368 h 404"/>
                <a:gd name="T12" fmla="*/ 2 w 225"/>
                <a:gd name="T13" fmla="*/ 404 h 404"/>
                <a:gd name="T14" fmla="*/ 0 w 225"/>
                <a:gd name="T15" fmla="*/ 21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5" h="404">
                  <a:moveTo>
                    <a:pt x="0" y="218"/>
                  </a:moveTo>
                  <a:lnTo>
                    <a:pt x="111" y="246"/>
                  </a:lnTo>
                  <a:lnTo>
                    <a:pt x="26" y="67"/>
                  </a:lnTo>
                  <a:lnTo>
                    <a:pt x="57" y="0"/>
                  </a:lnTo>
                  <a:lnTo>
                    <a:pt x="225" y="265"/>
                  </a:lnTo>
                  <a:lnTo>
                    <a:pt x="205" y="368"/>
                  </a:lnTo>
                  <a:lnTo>
                    <a:pt x="2" y="404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rgbClr val="474E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5" name="îsľïḍè">
              <a:extLst>
                <a:ext uri="{FF2B5EF4-FFF2-40B4-BE49-F238E27FC236}">
                  <a16:creationId xmlns:a16="http://schemas.microsoft.com/office/drawing/2014/main" id="{61B2185F-2A2F-43AE-A98E-EA02F79E1CBB}"/>
                </a:ext>
              </a:extLst>
            </p:cNvPr>
            <p:cNvSpPr/>
            <p:nvPr/>
          </p:nvSpPr>
          <p:spPr bwMode="auto">
            <a:xfrm>
              <a:off x="10998516" y="3448622"/>
              <a:ext cx="97485" cy="160562"/>
            </a:xfrm>
            <a:custGeom>
              <a:avLst/>
              <a:gdLst>
                <a:gd name="T0" fmla="*/ 60 w 63"/>
                <a:gd name="T1" fmla="*/ 68 h 103"/>
                <a:gd name="T2" fmla="*/ 39 w 63"/>
                <a:gd name="T3" fmla="*/ 13 h 103"/>
                <a:gd name="T4" fmla="*/ 25 w 63"/>
                <a:gd name="T5" fmla="*/ 1 h 103"/>
                <a:gd name="T6" fmla="*/ 13 w 63"/>
                <a:gd name="T7" fmla="*/ 18 h 103"/>
                <a:gd name="T8" fmla="*/ 16 w 63"/>
                <a:gd name="T9" fmla="*/ 59 h 103"/>
                <a:gd name="T10" fmla="*/ 7 w 63"/>
                <a:gd name="T11" fmla="*/ 58 h 103"/>
                <a:gd name="T12" fmla="*/ 5 w 63"/>
                <a:gd name="T13" fmla="*/ 61 h 103"/>
                <a:gd name="T14" fmla="*/ 36 w 63"/>
                <a:gd name="T15" fmla="*/ 103 h 103"/>
                <a:gd name="T16" fmla="*/ 63 w 63"/>
                <a:gd name="T17" fmla="*/ 67 h 103"/>
                <a:gd name="T18" fmla="*/ 60 w 63"/>
                <a:gd name="T19" fmla="*/ 6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103">
                  <a:moveTo>
                    <a:pt x="60" y="68"/>
                  </a:moveTo>
                  <a:cubicBezTo>
                    <a:pt x="55" y="49"/>
                    <a:pt x="48" y="30"/>
                    <a:pt x="39" y="13"/>
                  </a:cubicBezTo>
                  <a:cubicBezTo>
                    <a:pt x="36" y="7"/>
                    <a:pt x="31" y="0"/>
                    <a:pt x="25" y="1"/>
                  </a:cubicBezTo>
                  <a:cubicBezTo>
                    <a:pt x="17" y="1"/>
                    <a:pt x="14" y="10"/>
                    <a:pt x="13" y="18"/>
                  </a:cubicBezTo>
                  <a:cubicBezTo>
                    <a:pt x="11" y="31"/>
                    <a:pt x="12" y="46"/>
                    <a:pt x="16" y="59"/>
                  </a:cubicBezTo>
                  <a:cubicBezTo>
                    <a:pt x="15" y="62"/>
                    <a:pt x="11" y="57"/>
                    <a:pt x="7" y="58"/>
                  </a:cubicBezTo>
                  <a:cubicBezTo>
                    <a:pt x="6" y="58"/>
                    <a:pt x="5" y="60"/>
                    <a:pt x="5" y="61"/>
                  </a:cubicBezTo>
                  <a:cubicBezTo>
                    <a:pt x="0" y="80"/>
                    <a:pt x="24" y="94"/>
                    <a:pt x="36" y="103"/>
                  </a:cubicBezTo>
                  <a:cubicBezTo>
                    <a:pt x="46" y="91"/>
                    <a:pt x="49" y="77"/>
                    <a:pt x="63" y="67"/>
                  </a:cubicBezTo>
                  <a:lnTo>
                    <a:pt x="60" y="68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6" name="iśḻiḓê">
              <a:extLst>
                <a:ext uri="{FF2B5EF4-FFF2-40B4-BE49-F238E27FC236}">
                  <a16:creationId xmlns:a16="http://schemas.microsoft.com/office/drawing/2014/main" id="{F1319D7D-FE02-4BBA-A85A-EFC11C1B624B}"/>
                </a:ext>
              </a:extLst>
            </p:cNvPr>
            <p:cNvSpPr/>
            <p:nvPr/>
          </p:nvSpPr>
          <p:spPr bwMode="auto">
            <a:xfrm>
              <a:off x="9291110" y="4371855"/>
              <a:ext cx="490288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îṣḷîḋé">
              <a:extLst>
                <a:ext uri="{FF2B5EF4-FFF2-40B4-BE49-F238E27FC236}">
                  <a16:creationId xmlns:a16="http://schemas.microsoft.com/office/drawing/2014/main" id="{26455608-AB54-4DEE-8624-45E75674B5D4}"/>
                </a:ext>
              </a:extLst>
            </p:cNvPr>
            <p:cNvSpPr/>
            <p:nvPr/>
          </p:nvSpPr>
          <p:spPr bwMode="auto">
            <a:xfrm>
              <a:off x="9283942" y="4361819"/>
              <a:ext cx="506058" cy="506058"/>
            </a:xfrm>
            <a:custGeom>
              <a:avLst/>
              <a:gdLst>
                <a:gd name="T0" fmla="*/ 353 w 353"/>
                <a:gd name="T1" fmla="*/ 353 h 353"/>
                <a:gd name="T2" fmla="*/ 0 w 353"/>
                <a:gd name="T3" fmla="*/ 353 h 353"/>
                <a:gd name="T4" fmla="*/ 0 w 353"/>
                <a:gd name="T5" fmla="*/ 0 h 353"/>
                <a:gd name="T6" fmla="*/ 353 w 353"/>
                <a:gd name="T7" fmla="*/ 0 h 353"/>
                <a:gd name="T8" fmla="*/ 353 w 353"/>
                <a:gd name="T9" fmla="*/ 353 h 353"/>
                <a:gd name="T10" fmla="*/ 12 w 353"/>
                <a:gd name="T11" fmla="*/ 341 h 353"/>
                <a:gd name="T12" fmla="*/ 341 w 353"/>
                <a:gd name="T13" fmla="*/ 341 h 353"/>
                <a:gd name="T14" fmla="*/ 341 w 353"/>
                <a:gd name="T15" fmla="*/ 12 h 353"/>
                <a:gd name="T16" fmla="*/ 12 w 353"/>
                <a:gd name="T17" fmla="*/ 12 h 353"/>
                <a:gd name="T18" fmla="*/ 12 w 353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3" h="353">
                  <a:moveTo>
                    <a:pt x="353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3" y="0"/>
                  </a:lnTo>
                  <a:lnTo>
                    <a:pt x="353" y="353"/>
                  </a:lnTo>
                  <a:close/>
                  <a:moveTo>
                    <a:pt x="12" y="341"/>
                  </a:moveTo>
                  <a:lnTo>
                    <a:pt x="341" y="341"/>
                  </a:lnTo>
                  <a:lnTo>
                    <a:pt x="341" y="12"/>
                  </a:lnTo>
                  <a:lnTo>
                    <a:pt x="12" y="12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îṥlíḑé">
              <a:extLst>
                <a:ext uri="{FF2B5EF4-FFF2-40B4-BE49-F238E27FC236}">
                  <a16:creationId xmlns:a16="http://schemas.microsoft.com/office/drawing/2014/main" id="{94AF1CE2-EB53-461E-A7A6-27AB486B5136}"/>
                </a:ext>
              </a:extLst>
            </p:cNvPr>
            <p:cNvSpPr/>
            <p:nvPr/>
          </p:nvSpPr>
          <p:spPr bwMode="auto">
            <a:xfrm>
              <a:off x="9781398" y="4371855"/>
              <a:ext cx="488855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ïśḻíḑe">
              <a:extLst>
                <a:ext uri="{FF2B5EF4-FFF2-40B4-BE49-F238E27FC236}">
                  <a16:creationId xmlns:a16="http://schemas.microsoft.com/office/drawing/2014/main" id="{9D299490-1691-4774-9897-56ABC4903B18}"/>
                </a:ext>
              </a:extLst>
            </p:cNvPr>
            <p:cNvSpPr/>
            <p:nvPr/>
          </p:nvSpPr>
          <p:spPr bwMode="auto">
            <a:xfrm>
              <a:off x="9772796" y="4361819"/>
              <a:ext cx="504624" cy="506058"/>
            </a:xfrm>
            <a:custGeom>
              <a:avLst/>
              <a:gdLst>
                <a:gd name="T0" fmla="*/ 352 w 352"/>
                <a:gd name="T1" fmla="*/ 353 h 353"/>
                <a:gd name="T2" fmla="*/ 0 w 352"/>
                <a:gd name="T3" fmla="*/ 353 h 353"/>
                <a:gd name="T4" fmla="*/ 0 w 352"/>
                <a:gd name="T5" fmla="*/ 0 h 353"/>
                <a:gd name="T6" fmla="*/ 352 w 352"/>
                <a:gd name="T7" fmla="*/ 0 h 353"/>
                <a:gd name="T8" fmla="*/ 352 w 352"/>
                <a:gd name="T9" fmla="*/ 353 h 353"/>
                <a:gd name="T10" fmla="*/ 12 w 352"/>
                <a:gd name="T11" fmla="*/ 341 h 353"/>
                <a:gd name="T12" fmla="*/ 340 w 352"/>
                <a:gd name="T13" fmla="*/ 341 h 353"/>
                <a:gd name="T14" fmla="*/ 340 w 352"/>
                <a:gd name="T15" fmla="*/ 12 h 353"/>
                <a:gd name="T16" fmla="*/ 12 w 352"/>
                <a:gd name="T17" fmla="*/ 12 h 353"/>
                <a:gd name="T18" fmla="*/ 12 w 352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2" h="353">
                  <a:moveTo>
                    <a:pt x="352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2" y="0"/>
                  </a:lnTo>
                  <a:lnTo>
                    <a:pt x="352" y="353"/>
                  </a:lnTo>
                  <a:close/>
                  <a:moveTo>
                    <a:pt x="12" y="341"/>
                  </a:moveTo>
                  <a:lnTo>
                    <a:pt x="340" y="341"/>
                  </a:lnTo>
                  <a:lnTo>
                    <a:pt x="340" y="12"/>
                  </a:lnTo>
                  <a:lnTo>
                    <a:pt x="12" y="12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ïṥḷidé">
              <a:extLst>
                <a:ext uri="{FF2B5EF4-FFF2-40B4-BE49-F238E27FC236}">
                  <a16:creationId xmlns:a16="http://schemas.microsoft.com/office/drawing/2014/main" id="{923D03A3-383D-433B-BC24-1BFF52F082E0}"/>
                </a:ext>
              </a:extLst>
            </p:cNvPr>
            <p:cNvSpPr/>
            <p:nvPr/>
          </p:nvSpPr>
          <p:spPr bwMode="auto">
            <a:xfrm>
              <a:off x="10270252" y="4371855"/>
              <a:ext cx="488855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iśļîḓè">
              <a:extLst>
                <a:ext uri="{FF2B5EF4-FFF2-40B4-BE49-F238E27FC236}">
                  <a16:creationId xmlns:a16="http://schemas.microsoft.com/office/drawing/2014/main" id="{E4530A9B-F347-4E0F-A689-24800F77E41E}"/>
                </a:ext>
              </a:extLst>
            </p:cNvPr>
            <p:cNvSpPr/>
            <p:nvPr/>
          </p:nvSpPr>
          <p:spPr bwMode="auto">
            <a:xfrm>
              <a:off x="10260217" y="4361819"/>
              <a:ext cx="507491" cy="506058"/>
            </a:xfrm>
            <a:custGeom>
              <a:avLst/>
              <a:gdLst>
                <a:gd name="T0" fmla="*/ 354 w 354"/>
                <a:gd name="T1" fmla="*/ 353 h 353"/>
                <a:gd name="T2" fmla="*/ 0 w 354"/>
                <a:gd name="T3" fmla="*/ 353 h 353"/>
                <a:gd name="T4" fmla="*/ 0 w 354"/>
                <a:gd name="T5" fmla="*/ 0 h 353"/>
                <a:gd name="T6" fmla="*/ 354 w 354"/>
                <a:gd name="T7" fmla="*/ 0 h 353"/>
                <a:gd name="T8" fmla="*/ 354 w 354"/>
                <a:gd name="T9" fmla="*/ 353 h 353"/>
                <a:gd name="T10" fmla="*/ 12 w 354"/>
                <a:gd name="T11" fmla="*/ 341 h 353"/>
                <a:gd name="T12" fmla="*/ 342 w 354"/>
                <a:gd name="T13" fmla="*/ 341 h 353"/>
                <a:gd name="T14" fmla="*/ 342 w 354"/>
                <a:gd name="T15" fmla="*/ 12 h 353"/>
                <a:gd name="T16" fmla="*/ 12 w 354"/>
                <a:gd name="T17" fmla="*/ 12 h 353"/>
                <a:gd name="T18" fmla="*/ 12 w 354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" h="353">
                  <a:moveTo>
                    <a:pt x="354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4" y="0"/>
                  </a:lnTo>
                  <a:lnTo>
                    <a:pt x="354" y="353"/>
                  </a:lnTo>
                  <a:close/>
                  <a:moveTo>
                    <a:pt x="12" y="341"/>
                  </a:moveTo>
                  <a:lnTo>
                    <a:pt x="342" y="341"/>
                  </a:lnTo>
                  <a:lnTo>
                    <a:pt x="342" y="12"/>
                  </a:lnTo>
                  <a:lnTo>
                    <a:pt x="12" y="12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iSļîďê">
              <a:extLst>
                <a:ext uri="{FF2B5EF4-FFF2-40B4-BE49-F238E27FC236}">
                  <a16:creationId xmlns:a16="http://schemas.microsoft.com/office/drawing/2014/main" id="{7D7629F9-B6E0-40EC-841B-E00699E763CA}"/>
                </a:ext>
              </a:extLst>
            </p:cNvPr>
            <p:cNvSpPr/>
            <p:nvPr/>
          </p:nvSpPr>
          <p:spPr bwMode="auto">
            <a:xfrm>
              <a:off x="9291110" y="4859276"/>
              <a:ext cx="490288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išľïḑê">
              <a:extLst>
                <a:ext uri="{FF2B5EF4-FFF2-40B4-BE49-F238E27FC236}">
                  <a16:creationId xmlns:a16="http://schemas.microsoft.com/office/drawing/2014/main" id="{59865647-4655-4F16-A192-A9723875DB5D}"/>
                </a:ext>
              </a:extLst>
            </p:cNvPr>
            <p:cNvSpPr/>
            <p:nvPr/>
          </p:nvSpPr>
          <p:spPr bwMode="auto">
            <a:xfrm>
              <a:off x="9283942" y="4850674"/>
              <a:ext cx="506058" cy="506058"/>
            </a:xfrm>
            <a:custGeom>
              <a:avLst/>
              <a:gdLst>
                <a:gd name="T0" fmla="*/ 353 w 353"/>
                <a:gd name="T1" fmla="*/ 353 h 353"/>
                <a:gd name="T2" fmla="*/ 0 w 353"/>
                <a:gd name="T3" fmla="*/ 353 h 353"/>
                <a:gd name="T4" fmla="*/ 0 w 353"/>
                <a:gd name="T5" fmla="*/ 0 h 353"/>
                <a:gd name="T6" fmla="*/ 353 w 353"/>
                <a:gd name="T7" fmla="*/ 0 h 353"/>
                <a:gd name="T8" fmla="*/ 353 w 353"/>
                <a:gd name="T9" fmla="*/ 353 h 353"/>
                <a:gd name="T10" fmla="*/ 12 w 353"/>
                <a:gd name="T11" fmla="*/ 340 h 353"/>
                <a:gd name="T12" fmla="*/ 341 w 353"/>
                <a:gd name="T13" fmla="*/ 340 h 353"/>
                <a:gd name="T14" fmla="*/ 341 w 353"/>
                <a:gd name="T15" fmla="*/ 12 h 353"/>
                <a:gd name="T16" fmla="*/ 12 w 353"/>
                <a:gd name="T17" fmla="*/ 12 h 353"/>
                <a:gd name="T18" fmla="*/ 12 w 353"/>
                <a:gd name="T19" fmla="*/ 34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3" h="353">
                  <a:moveTo>
                    <a:pt x="353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3" y="0"/>
                  </a:lnTo>
                  <a:lnTo>
                    <a:pt x="353" y="353"/>
                  </a:lnTo>
                  <a:close/>
                  <a:moveTo>
                    <a:pt x="12" y="340"/>
                  </a:moveTo>
                  <a:lnTo>
                    <a:pt x="341" y="340"/>
                  </a:lnTo>
                  <a:lnTo>
                    <a:pt x="341" y="12"/>
                  </a:lnTo>
                  <a:lnTo>
                    <a:pt x="12" y="12"/>
                  </a:lnTo>
                  <a:lnTo>
                    <a:pt x="12" y="34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i$ļîďe">
              <a:extLst>
                <a:ext uri="{FF2B5EF4-FFF2-40B4-BE49-F238E27FC236}">
                  <a16:creationId xmlns:a16="http://schemas.microsoft.com/office/drawing/2014/main" id="{92F111F5-08F6-4B6B-813F-161F3A18A5D4}"/>
                </a:ext>
              </a:extLst>
            </p:cNvPr>
            <p:cNvSpPr/>
            <p:nvPr/>
          </p:nvSpPr>
          <p:spPr bwMode="auto">
            <a:xfrm>
              <a:off x="9781398" y="4859276"/>
              <a:ext cx="488855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íşḷïḍe">
              <a:extLst>
                <a:ext uri="{FF2B5EF4-FFF2-40B4-BE49-F238E27FC236}">
                  <a16:creationId xmlns:a16="http://schemas.microsoft.com/office/drawing/2014/main" id="{9D2AC528-9950-4966-97FF-D3370FEB23FE}"/>
                </a:ext>
              </a:extLst>
            </p:cNvPr>
            <p:cNvSpPr/>
            <p:nvPr/>
          </p:nvSpPr>
          <p:spPr bwMode="auto">
            <a:xfrm>
              <a:off x="9772796" y="4850674"/>
              <a:ext cx="504624" cy="506058"/>
            </a:xfrm>
            <a:custGeom>
              <a:avLst/>
              <a:gdLst>
                <a:gd name="T0" fmla="*/ 352 w 352"/>
                <a:gd name="T1" fmla="*/ 353 h 353"/>
                <a:gd name="T2" fmla="*/ 0 w 352"/>
                <a:gd name="T3" fmla="*/ 353 h 353"/>
                <a:gd name="T4" fmla="*/ 0 w 352"/>
                <a:gd name="T5" fmla="*/ 0 h 353"/>
                <a:gd name="T6" fmla="*/ 352 w 352"/>
                <a:gd name="T7" fmla="*/ 0 h 353"/>
                <a:gd name="T8" fmla="*/ 352 w 352"/>
                <a:gd name="T9" fmla="*/ 353 h 353"/>
                <a:gd name="T10" fmla="*/ 12 w 352"/>
                <a:gd name="T11" fmla="*/ 340 h 353"/>
                <a:gd name="T12" fmla="*/ 340 w 352"/>
                <a:gd name="T13" fmla="*/ 340 h 353"/>
                <a:gd name="T14" fmla="*/ 340 w 352"/>
                <a:gd name="T15" fmla="*/ 12 h 353"/>
                <a:gd name="T16" fmla="*/ 12 w 352"/>
                <a:gd name="T17" fmla="*/ 12 h 353"/>
                <a:gd name="T18" fmla="*/ 12 w 352"/>
                <a:gd name="T19" fmla="*/ 34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2" h="353">
                  <a:moveTo>
                    <a:pt x="352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2" y="0"/>
                  </a:lnTo>
                  <a:lnTo>
                    <a:pt x="352" y="353"/>
                  </a:lnTo>
                  <a:close/>
                  <a:moveTo>
                    <a:pt x="12" y="340"/>
                  </a:moveTo>
                  <a:lnTo>
                    <a:pt x="340" y="340"/>
                  </a:lnTo>
                  <a:lnTo>
                    <a:pt x="340" y="12"/>
                  </a:lnTo>
                  <a:lnTo>
                    <a:pt x="12" y="12"/>
                  </a:lnTo>
                  <a:lnTo>
                    <a:pt x="12" y="34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iṥļiḑê">
              <a:extLst>
                <a:ext uri="{FF2B5EF4-FFF2-40B4-BE49-F238E27FC236}">
                  <a16:creationId xmlns:a16="http://schemas.microsoft.com/office/drawing/2014/main" id="{1F7705E4-6863-4AAC-8DB5-61C1741DD66C}"/>
                </a:ext>
              </a:extLst>
            </p:cNvPr>
            <p:cNvSpPr/>
            <p:nvPr/>
          </p:nvSpPr>
          <p:spPr bwMode="auto">
            <a:xfrm>
              <a:off x="10270252" y="4859276"/>
              <a:ext cx="488855" cy="48742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išḻïḋè">
              <a:extLst>
                <a:ext uri="{FF2B5EF4-FFF2-40B4-BE49-F238E27FC236}">
                  <a16:creationId xmlns:a16="http://schemas.microsoft.com/office/drawing/2014/main" id="{3217103D-6766-49B5-9FF2-AA84178FFA69}"/>
                </a:ext>
              </a:extLst>
            </p:cNvPr>
            <p:cNvSpPr/>
            <p:nvPr/>
          </p:nvSpPr>
          <p:spPr bwMode="auto">
            <a:xfrm>
              <a:off x="10260217" y="4850674"/>
              <a:ext cx="507491" cy="506058"/>
            </a:xfrm>
            <a:custGeom>
              <a:avLst/>
              <a:gdLst>
                <a:gd name="T0" fmla="*/ 354 w 354"/>
                <a:gd name="T1" fmla="*/ 353 h 353"/>
                <a:gd name="T2" fmla="*/ 0 w 354"/>
                <a:gd name="T3" fmla="*/ 353 h 353"/>
                <a:gd name="T4" fmla="*/ 0 w 354"/>
                <a:gd name="T5" fmla="*/ 0 h 353"/>
                <a:gd name="T6" fmla="*/ 354 w 354"/>
                <a:gd name="T7" fmla="*/ 0 h 353"/>
                <a:gd name="T8" fmla="*/ 354 w 354"/>
                <a:gd name="T9" fmla="*/ 353 h 353"/>
                <a:gd name="T10" fmla="*/ 12 w 354"/>
                <a:gd name="T11" fmla="*/ 340 h 353"/>
                <a:gd name="T12" fmla="*/ 342 w 354"/>
                <a:gd name="T13" fmla="*/ 340 h 353"/>
                <a:gd name="T14" fmla="*/ 342 w 354"/>
                <a:gd name="T15" fmla="*/ 12 h 353"/>
                <a:gd name="T16" fmla="*/ 12 w 354"/>
                <a:gd name="T17" fmla="*/ 12 h 353"/>
                <a:gd name="T18" fmla="*/ 12 w 354"/>
                <a:gd name="T19" fmla="*/ 34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" h="353">
                  <a:moveTo>
                    <a:pt x="354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4" y="0"/>
                  </a:lnTo>
                  <a:lnTo>
                    <a:pt x="354" y="353"/>
                  </a:lnTo>
                  <a:close/>
                  <a:moveTo>
                    <a:pt x="12" y="340"/>
                  </a:moveTo>
                  <a:lnTo>
                    <a:pt x="342" y="340"/>
                  </a:lnTo>
                  <a:lnTo>
                    <a:pt x="342" y="12"/>
                  </a:lnTo>
                  <a:lnTo>
                    <a:pt x="12" y="12"/>
                  </a:lnTo>
                  <a:lnTo>
                    <a:pt x="12" y="34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iṡlidê">
              <a:extLst>
                <a:ext uri="{FF2B5EF4-FFF2-40B4-BE49-F238E27FC236}">
                  <a16:creationId xmlns:a16="http://schemas.microsoft.com/office/drawing/2014/main" id="{79C0F5A9-57E6-4A3D-B5C5-C188E669121B}"/>
                </a:ext>
              </a:extLst>
            </p:cNvPr>
            <p:cNvSpPr/>
            <p:nvPr/>
          </p:nvSpPr>
          <p:spPr bwMode="auto">
            <a:xfrm>
              <a:off x="9291110" y="5346697"/>
              <a:ext cx="490288" cy="4888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îšḻïdê">
              <a:extLst>
                <a:ext uri="{FF2B5EF4-FFF2-40B4-BE49-F238E27FC236}">
                  <a16:creationId xmlns:a16="http://schemas.microsoft.com/office/drawing/2014/main" id="{532686FF-7D2C-4B49-92A2-B0A24758F452}"/>
                </a:ext>
              </a:extLst>
            </p:cNvPr>
            <p:cNvSpPr/>
            <p:nvPr/>
          </p:nvSpPr>
          <p:spPr bwMode="auto">
            <a:xfrm>
              <a:off x="9283942" y="5338094"/>
              <a:ext cx="506058" cy="506058"/>
            </a:xfrm>
            <a:custGeom>
              <a:avLst/>
              <a:gdLst>
                <a:gd name="T0" fmla="*/ 353 w 353"/>
                <a:gd name="T1" fmla="*/ 353 h 353"/>
                <a:gd name="T2" fmla="*/ 0 w 353"/>
                <a:gd name="T3" fmla="*/ 353 h 353"/>
                <a:gd name="T4" fmla="*/ 0 w 353"/>
                <a:gd name="T5" fmla="*/ 0 h 353"/>
                <a:gd name="T6" fmla="*/ 353 w 353"/>
                <a:gd name="T7" fmla="*/ 0 h 353"/>
                <a:gd name="T8" fmla="*/ 353 w 353"/>
                <a:gd name="T9" fmla="*/ 353 h 353"/>
                <a:gd name="T10" fmla="*/ 12 w 353"/>
                <a:gd name="T11" fmla="*/ 341 h 353"/>
                <a:gd name="T12" fmla="*/ 341 w 353"/>
                <a:gd name="T13" fmla="*/ 341 h 353"/>
                <a:gd name="T14" fmla="*/ 341 w 353"/>
                <a:gd name="T15" fmla="*/ 13 h 353"/>
                <a:gd name="T16" fmla="*/ 12 w 353"/>
                <a:gd name="T17" fmla="*/ 13 h 353"/>
                <a:gd name="T18" fmla="*/ 12 w 353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3" h="353">
                  <a:moveTo>
                    <a:pt x="353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3" y="0"/>
                  </a:lnTo>
                  <a:lnTo>
                    <a:pt x="353" y="353"/>
                  </a:lnTo>
                  <a:close/>
                  <a:moveTo>
                    <a:pt x="12" y="341"/>
                  </a:moveTo>
                  <a:lnTo>
                    <a:pt x="341" y="341"/>
                  </a:lnTo>
                  <a:lnTo>
                    <a:pt x="341" y="13"/>
                  </a:lnTo>
                  <a:lnTo>
                    <a:pt x="12" y="13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ïśľíḋé">
              <a:extLst>
                <a:ext uri="{FF2B5EF4-FFF2-40B4-BE49-F238E27FC236}">
                  <a16:creationId xmlns:a16="http://schemas.microsoft.com/office/drawing/2014/main" id="{FDB0E027-A08D-49A3-884D-BEB82FB389FF}"/>
                </a:ext>
              </a:extLst>
            </p:cNvPr>
            <p:cNvSpPr/>
            <p:nvPr/>
          </p:nvSpPr>
          <p:spPr bwMode="auto">
            <a:xfrm>
              <a:off x="9781398" y="5346697"/>
              <a:ext cx="488855" cy="4888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îśḷíḍè">
              <a:extLst>
                <a:ext uri="{FF2B5EF4-FFF2-40B4-BE49-F238E27FC236}">
                  <a16:creationId xmlns:a16="http://schemas.microsoft.com/office/drawing/2014/main" id="{71B4F0D0-7C3D-455C-8F4B-3491A946C141}"/>
                </a:ext>
              </a:extLst>
            </p:cNvPr>
            <p:cNvSpPr/>
            <p:nvPr/>
          </p:nvSpPr>
          <p:spPr bwMode="auto">
            <a:xfrm>
              <a:off x="9772796" y="5338094"/>
              <a:ext cx="504624" cy="506058"/>
            </a:xfrm>
            <a:custGeom>
              <a:avLst/>
              <a:gdLst>
                <a:gd name="T0" fmla="*/ 352 w 352"/>
                <a:gd name="T1" fmla="*/ 353 h 353"/>
                <a:gd name="T2" fmla="*/ 0 w 352"/>
                <a:gd name="T3" fmla="*/ 353 h 353"/>
                <a:gd name="T4" fmla="*/ 0 w 352"/>
                <a:gd name="T5" fmla="*/ 0 h 353"/>
                <a:gd name="T6" fmla="*/ 352 w 352"/>
                <a:gd name="T7" fmla="*/ 0 h 353"/>
                <a:gd name="T8" fmla="*/ 352 w 352"/>
                <a:gd name="T9" fmla="*/ 353 h 353"/>
                <a:gd name="T10" fmla="*/ 12 w 352"/>
                <a:gd name="T11" fmla="*/ 341 h 353"/>
                <a:gd name="T12" fmla="*/ 340 w 352"/>
                <a:gd name="T13" fmla="*/ 341 h 353"/>
                <a:gd name="T14" fmla="*/ 340 w 352"/>
                <a:gd name="T15" fmla="*/ 13 h 353"/>
                <a:gd name="T16" fmla="*/ 12 w 352"/>
                <a:gd name="T17" fmla="*/ 13 h 353"/>
                <a:gd name="T18" fmla="*/ 12 w 352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2" h="353">
                  <a:moveTo>
                    <a:pt x="352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2" y="0"/>
                  </a:lnTo>
                  <a:lnTo>
                    <a:pt x="352" y="353"/>
                  </a:lnTo>
                  <a:close/>
                  <a:moveTo>
                    <a:pt x="12" y="341"/>
                  </a:moveTo>
                  <a:lnTo>
                    <a:pt x="340" y="341"/>
                  </a:lnTo>
                  <a:lnTo>
                    <a:pt x="340" y="13"/>
                  </a:lnTo>
                  <a:lnTo>
                    <a:pt x="12" y="13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2" name="íSlîḓé">
              <a:extLst>
                <a:ext uri="{FF2B5EF4-FFF2-40B4-BE49-F238E27FC236}">
                  <a16:creationId xmlns:a16="http://schemas.microsoft.com/office/drawing/2014/main" id="{D90AA022-7AEE-4961-A148-E3B9C1728C4C}"/>
                </a:ext>
              </a:extLst>
            </p:cNvPr>
            <p:cNvSpPr/>
            <p:nvPr/>
          </p:nvSpPr>
          <p:spPr bwMode="auto">
            <a:xfrm>
              <a:off x="10270252" y="5346697"/>
              <a:ext cx="488855" cy="4888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3" name="ïsḻiḑè">
              <a:extLst>
                <a:ext uri="{FF2B5EF4-FFF2-40B4-BE49-F238E27FC236}">
                  <a16:creationId xmlns:a16="http://schemas.microsoft.com/office/drawing/2014/main" id="{D306C97F-EED9-4542-A762-0AD308F7564B}"/>
                </a:ext>
              </a:extLst>
            </p:cNvPr>
            <p:cNvSpPr/>
            <p:nvPr/>
          </p:nvSpPr>
          <p:spPr bwMode="auto">
            <a:xfrm>
              <a:off x="10260217" y="5338094"/>
              <a:ext cx="507491" cy="506058"/>
            </a:xfrm>
            <a:custGeom>
              <a:avLst/>
              <a:gdLst>
                <a:gd name="T0" fmla="*/ 354 w 354"/>
                <a:gd name="T1" fmla="*/ 353 h 353"/>
                <a:gd name="T2" fmla="*/ 0 w 354"/>
                <a:gd name="T3" fmla="*/ 353 h 353"/>
                <a:gd name="T4" fmla="*/ 0 w 354"/>
                <a:gd name="T5" fmla="*/ 0 h 353"/>
                <a:gd name="T6" fmla="*/ 354 w 354"/>
                <a:gd name="T7" fmla="*/ 0 h 353"/>
                <a:gd name="T8" fmla="*/ 354 w 354"/>
                <a:gd name="T9" fmla="*/ 353 h 353"/>
                <a:gd name="T10" fmla="*/ 12 w 354"/>
                <a:gd name="T11" fmla="*/ 341 h 353"/>
                <a:gd name="T12" fmla="*/ 342 w 354"/>
                <a:gd name="T13" fmla="*/ 341 h 353"/>
                <a:gd name="T14" fmla="*/ 342 w 354"/>
                <a:gd name="T15" fmla="*/ 13 h 353"/>
                <a:gd name="T16" fmla="*/ 12 w 354"/>
                <a:gd name="T17" fmla="*/ 13 h 353"/>
                <a:gd name="T18" fmla="*/ 12 w 354"/>
                <a:gd name="T19" fmla="*/ 3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" h="353">
                  <a:moveTo>
                    <a:pt x="354" y="353"/>
                  </a:moveTo>
                  <a:lnTo>
                    <a:pt x="0" y="353"/>
                  </a:lnTo>
                  <a:lnTo>
                    <a:pt x="0" y="0"/>
                  </a:lnTo>
                  <a:lnTo>
                    <a:pt x="354" y="0"/>
                  </a:lnTo>
                  <a:lnTo>
                    <a:pt x="354" y="353"/>
                  </a:lnTo>
                  <a:close/>
                  <a:moveTo>
                    <a:pt x="12" y="341"/>
                  </a:moveTo>
                  <a:lnTo>
                    <a:pt x="342" y="341"/>
                  </a:lnTo>
                  <a:lnTo>
                    <a:pt x="342" y="13"/>
                  </a:lnTo>
                  <a:lnTo>
                    <a:pt x="12" y="13"/>
                  </a:lnTo>
                  <a:lnTo>
                    <a:pt x="12" y="341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ïṡḻïḋé">
              <a:extLst>
                <a:ext uri="{FF2B5EF4-FFF2-40B4-BE49-F238E27FC236}">
                  <a16:creationId xmlns:a16="http://schemas.microsoft.com/office/drawing/2014/main" id="{F1F3CFFF-576B-4378-9FFE-52B978B2221E}"/>
                </a:ext>
              </a:extLst>
            </p:cNvPr>
            <p:cNvSpPr/>
            <p:nvPr/>
          </p:nvSpPr>
          <p:spPr bwMode="auto">
            <a:xfrm>
              <a:off x="10423646" y="4498011"/>
              <a:ext cx="180633" cy="253746"/>
            </a:xfrm>
            <a:custGeom>
              <a:avLst/>
              <a:gdLst>
                <a:gd name="T0" fmla="*/ 116 w 116"/>
                <a:gd name="T1" fmla="*/ 136 h 164"/>
                <a:gd name="T2" fmla="*/ 116 w 116"/>
                <a:gd name="T3" fmla="*/ 164 h 164"/>
                <a:gd name="T4" fmla="*/ 5 w 116"/>
                <a:gd name="T5" fmla="*/ 164 h 164"/>
                <a:gd name="T6" fmla="*/ 5 w 116"/>
                <a:gd name="T7" fmla="*/ 138 h 164"/>
                <a:gd name="T8" fmla="*/ 59 w 116"/>
                <a:gd name="T9" fmla="*/ 81 h 164"/>
                <a:gd name="T10" fmla="*/ 76 w 116"/>
                <a:gd name="T11" fmla="*/ 48 h 164"/>
                <a:gd name="T12" fmla="*/ 70 w 116"/>
                <a:gd name="T13" fmla="*/ 33 h 164"/>
                <a:gd name="T14" fmla="*/ 54 w 116"/>
                <a:gd name="T15" fmla="*/ 28 h 164"/>
                <a:gd name="T16" fmla="*/ 11 w 116"/>
                <a:gd name="T17" fmla="*/ 44 h 164"/>
                <a:gd name="T18" fmla="*/ 0 w 116"/>
                <a:gd name="T19" fmla="*/ 19 h 164"/>
                <a:gd name="T20" fmla="*/ 25 w 116"/>
                <a:gd name="T21" fmla="*/ 5 h 164"/>
                <a:gd name="T22" fmla="*/ 56 w 116"/>
                <a:gd name="T23" fmla="*/ 0 h 164"/>
                <a:gd name="T24" fmla="*/ 96 w 116"/>
                <a:gd name="T25" fmla="*/ 13 h 164"/>
                <a:gd name="T26" fmla="*/ 110 w 116"/>
                <a:gd name="T27" fmla="*/ 45 h 164"/>
                <a:gd name="T28" fmla="*/ 105 w 116"/>
                <a:gd name="T29" fmla="*/ 71 h 164"/>
                <a:gd name="T30" fmla="*/ 85 w 116"/>
                <a:gd name="T31" fmla="*/ 97 h 164"/>
                <a:gd name="T32" fmla="*/ 49 w 116"/>
                <a:gd name="T33" fmla="*/ 136 h 164"/>
                <a:gd name="T34" fmla="*/ 116 w 116"/>
                <a:gd name="T35" fmla="*/ 13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6" h="164">
                  <a:moveTo>
                    <a:pt x="116" y="136"/>
                  </a:moveTo>
                  <a:cubicBezTo>
                    <a:pt x="116" y="164"/>
                    <a:pt x="116" y="164"/>
                    <a:pt x="116" y="164"/>
                  </a:cubicBezTo>
                  <a:cubicBezTo>
                    <a:pt x="5" y="164"/>
                    <a:pt x="5" y="164"/>
                    <a:pt x="5" y="164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70" y="69"/>
                    <a:pt x="76" y="58"/>
                    <a:pt x="76" y="48"/>
                  </a:cubicBezTo>
                  <a:cubicBezTo>
                    <a:pt x="76" y="41"/>
                    <a:pt x="74" y="36"/>
                    <a:pt x="70" y="33"/>
                  </a:cubicBezTo>
                  <a:cubicBezTo>
                    <a:pt x="67" y="30"/>
                    <a:pt x="61" y="28"/>
                    <a:pt x="54" y="28"/>
                  </a:cubicBezTo>
                  <a:cubicBezTo>
                    <a:pt x="40" y="28"/>
                    <a:pt x="26" y="34"/>
                    <a:pt x="11" y="4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6" y="13"/>
                    <a:pt x="15" y="9"/>
                    <a:pt x="25" y="5"/>
                  </a:cubicBezTo>
                  <a:cubicBezTo>
                    <a:pt x="35" y="2"/>
                    <a:pt x="45" y="0"/>
                    <a:pt x="56" y="0"/>
                  </a:cubicBezTo>
                  <a:cubicBezTo>
                    <a:pt x="72" y="0"/>
                    <a:pt x="86" y="4"/>
                    <a:pt x="96" y="13"/>
                  </a:cubicBezTo>
                  <a:cubicBezTo>
                    <a:pt x="106" y="21"/>
                    <a:pt x="110" y="31"/>
                    <a:pt x="110" y="45"/>
                  </a:cubicBezTo>
                  <a:cubicBezTo>
                    <a:pt x="110" y="54"/>
                    <a:pt x="109" y="63"/>
                    <a:pt x="105" y="71"/>
                  </a:cubicBezTo>
                  <a:cubicBezTo>
                    <a:pt x="101" y="79"/>
                    <a:pt x="94" y="88"/>
                    <a:pt x="85" y="97"/>
                  </a:cubicBezTo>
                  <a:cubicBezTo>
                    <a:pt x="49" y="136"/>
                    <a:pt x="49" y="136"/>
                    <a:pt x="49" y="136"/>
                  </a:cubicBezTo>
                  <a:lnTo>
                    <a:pt x="116" y="136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íṡļïde">
              <a:extLst>
                <a:ext uri="{FF2B5EF4-FFF2-40B4-BE49-F238E27FC236}">
                  <a16:creationId xmlns:a16="http://schemas.microsoft.com/office/drawing/2014/main" id="{E2A669BC-D9EF-4BF4-89D6-95D343EC9B66}"/>
                </a:ext>
              </a:extLst>
            </p:cNvPr>
            <p:cNvSpPr/>
            <p:nvPr/>
          </p:nvSpPr>
          <p:spPr bwMode="auto">
            <a:xfrm>
              <a:off x="10446584" y="5481454"/>
              <a:ext cx="180633" cy="255179"/>
            </a:xfrm>
            <a:custGeom>
              <a:avLst/>
              <a:gdLst>
                <a:gd name="T0" fmla="*/ 109 w 117"/>
                <a:gd name="T1" fmla="*/ 94 h 165"/>
                <a:gd name="T2" fmla="*/ 117 w 117"/>
                <a:gd name="T3" fmla="*/ 119 h 165"/>
                <a:gd name="T4" fmla="*/ 101 w 117"/>
                <a:gd name="T5" fmla="*/ 153 h 165"/>
                <a:gd name="T6" fmla="*/ 57 w 117"/>
                <a:gd name="T7" fmla="*/ 165 h 165"/>
                <a:gd name="T8" fmla="*/ 25 w 117"/>
                <a:gd name="T9" fmla="*/ 160 h 165"/>
                <a:gd name="T10" fmla="*/ 0 w 117"/>
                <a:gd name="T11" fmla="*/ 147 h 165"/>
                <a:gd name="T12" fmla="*/ 11 w 117"/>
                <a:gd name="T13" fmla="*/ 122 h 165"/>
                <a:gd name="T14" fmla="*/ 55 w 117"/>
                <a:gd name="T15" fmla="*/ 137 h 165"/>
                <a:gd name="T16" fmla="*/ 77 w 117"/>
                <a:gd name="T17" fmla="*/ 132 h 165"/>
                <a:gd name="T18" fmla="*/ 83 w 117"/>
                <a:gd name="T19" fmla="*/ 116 h 165"/>
                <a:gd name="T20" fmla="*/ 77 w 117"/>
                <a:gd name="T21" fmla="*/ 100 h 165"/>
                <a:gd name="T22" fmla="*/ 55 w 117"/>
                <a:gd name="T23" fmla="*/ 95 h 165"/>
                <a:gd name="T24" fmla="*/ 32 w 117"/>
                <a:gd name="T25" fmla="*/ 95 h 165"/>
                <a:gd name="T26" fmla="*/ 32 w 117"/>
                <a:gd name="T27" fmla="*/ 68 h 165"/>
                <a:gd name="T28" fmla="*/ 52 w 117"/>
                <a:gd name="T29" fmla="*/ 68 h 165"/>
                <a:gd name="T30" fmla="*/ 72 w 117"/>
                <a:gd name="T31" fmla="*/ 63 h 165"/>
                <a:gd name="T32" fmla="*/ 79 w 117"/>
                <a:gd name="T33" fmla="*/ 48 h 165"/>
                <a:gd name="T34" fmla="*/ 73 w 117"/>
                <a:gd name="T35" fmla="*/ 33 h 165"/>
                <a:gd name="T36" fmla="*/ 56 w 117"/>
                <a:gd name="T37" fmla="*/ 28 h 165"/>
                <a:gd name="T38" fmla="*/ 35 w 117"/>
                <a:gd name="T39" fmla="*/ 32 h 165"/>
                <a:gd name="T40" fmla="*/ 13 w 117"/>
                <a:gd name="T41" fmla="*/ 43 h 165"/>
                <a:gd name="T42" fmla="*/ 2 w 117"/>
                <a:gd name="T43" fmla="*/ 18 h 165"/>
                <a:gd name="T44" fmla="*/ 27 w 117"/>
                <a:gd name="T45" fmla="*/ 5 h 165"/>
                <a:gd name="T46" fmla="*/ 58 w 117"/>
                <a:gd name="T47" fmla="*/ 0 h 165"/>
                <a:gd name="T48" fmla="*/ 87 w 117"/>
                <a:gd name="T49" fmla="*/ 5 h 165"/>
                <a:gd name="T50" fmla="*/ 106 w 117"/>
                <a:gd name="T51" fmla="*/ 20 h 165"/>
                <a:gd name="T52" fmla="*/ 113 w 117"/>
                <a:gd name="T53" fmla="*/ 43 h 165"/>
                <a:gd name="T54" fmla="*/ 106 w 117"/>
                <a:gd name="T55" fmla="*/ 66 h 165"/>
                <a:gd name="T56" fmla="*/ 88 w 117"/>
                <a:gd name="T57" fmla="*/ 80 h 165"/>
                <a:gd name="T58" fmla="*/ 109 w 117"/>
                <a:gd name="T59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7" h="165">
                  <a:moveTo>
                    <a:pt x="109" y="94"/>
                  </a:moveTo>
                  <a:cubicBezTo>
                    <a:pt x="114" y="101"/>
                    <a:pt x="117" y="109"/>
                    <a:pt x="117" y="119"/>
                  </a:cubicBezTo>
                  <a:cubicBezTo>
                    <a:pt x="117" y="133"/>
                    <a:pt x="111" y="145"/>
                    <a:pt x="101" y="153"/>
                  </a:cubicBezTo>
                  <a:cubicBezTo>
                    <a:pt x="90" y="161"/>
                    <a:pt x="75" y="165"/>
                    <a:pt x="57" y="165"/>
                  </a:cubicBezTo>
                  <a:cubicBezTo>
                    <a:pt x="46" y="165"/>
                    <a:pt x="35" y="163"/>
                    <a:pt x="25" y="160"/>
                  </a:cubicBezTo>
                  <a:cubicBezTo>
                    <a:pt x="15" y="157"/>
                    <a:pt x="6" y="152"/>
                    <a:pt x="0" y="147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26" y="132"/>
                    <a:pt x="40" y="137"/>
                    <a:pt x="55" y="137"/>
                  </a:cubicBezTo>
                  <a:cubicBezTo>
                    <a:pt x="65" y="137"/>
                    <a:pt x="72" y="135"/>
                    <a:pt x="77" y="132"/>
                  </a:cubicBezTo>
                  <a:cubicBezTo>
                    <a:pt x="81" y="129"/>
                    <a:pt x="83" y="123"/>
                    <a:pt x="83" y="116"/>
                  </a:cubicBezTo>
                  <a:cubicBezTo>
                    <a:pt x="83" y="109"/>
                    <a:pt x="81" y="104"/>
                    <a:pt x="77" y="100"/>
                  </a:cubicBezTo>
                  <a:cubicBezTo>
                    <a:pt x="72" y="97"/>
                    <a:pt x="65" y="95"/>
                    <a:pt x="55" y="95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61" y="68"/>
                    <a:pt x="68" y="66"/>
                    <a:pt x="72" y="63"/>
                  </a:cubicBezTo>
                  <a:cubicBezTo>
                    <a:pt x="77" y="60"/>
                    <a:pt x="79" y="55"/>
                    <a:pt x="79" y="48"/>
                  </a:cubicBezTo>
                  <a:cubicBezTo>
                    <a:pt x="79" y="41"/>
                    <a:pt x="77" y="36"/>
                    <a:pt x="73" y="33"/>
                  </a:cubicBezTo>
                  <a:cubicBezTo>
                    <a:pt x="69" y="29"/>
                    <a:pt x="63" y="28"/>
                    <a:pt x="56" y="28"/>
                  </a:cubicBezTo>
                  <a:cubicBezTo>
                    <a:pt x="49" y="28"/>
                    <a:pt x="42" y="29"/>
                    <a:pt x="35" y="32"/>
                  </a:cubicBezTo>
                  <a:cubicBezTo>
                    <a:pt x="27" y="34"/>
                    <a:pt x="20" y="38"/>
                    <a:pt x="13" y="43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9" y="12"/>
                    <a:pt x="17" y="8"/>
                    <a:pt x="27" y="5"/>
                  </a:cubicBezTo>
                  <a:cubicBezTo>
                    <a:pt x="37" y="1"/>
                    <a:pt x="48" y="0"/>
                    <a:pt x="58" y="0"/>
                  </a:cubicBezTo>
                  <a:cubicBezTo>
                    <a:pt x="69" y="0"/>
                    <a:pt x="79" y="2"/>
                    <a:pt x="87" y="5"/>
                  </a:cubicBezTo>
                  <a:cubicBezTo>
                    <a:pt x="95" y="9"/>
                    <a:pt x="102" y="14"/>
                    <a:pt x="106" y="20"/>
                  </a:cubicBezTo>
                  <a:cubicBezTo>
                    <a:pt x="111" y="27"/>
                    <a:pt x="113" y="35"/>
                    <a:pt x="113" y="43"/>
                  </a:cubicBezTo>
                  <a:cubicBezTo>
                    <a:pt x="113" y="52"/>
                    <a:pt x="111" y="60"/>
                    <a:pt x="106" y="66"/>
                  </a:cubicBezTo>
                  <a:cubicBezTo>
                    <a:pt x="102" y="73"/>
                    <a:pt x="96" y="77"/>
                    <a:pt x="88" y="80"/>
                  </a:cubicBezTo>
                  <a:cubicBezTo>
                    <a:pt x="97" y="83"/>
                    <a:pt x="104" y="88"/>
                    <a:pt x="109" y="94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íṧļiḋe">
              <a:extLst>
                <a:ext uri="{FF2B5EF4-FFF2-40B4-BE49-F238E27FC236}">
                  <a16:creationId xmlns:a16="http://schemas.microsoft.com/office/drawing/2014/main" id="{C5F3E42B-D474-4DE4-81DD-57DAA35C7966}"/>
                </a:ext>
              </a:extLst>
            </p:cNvPr>
            <p:cNvSpPr/>
            <p:nvPr/>
          </p:nvSpPr>
          <p:spPr bwMode="auto">
            <a:xfrm>
              <a:off x="9941960" y="4487975"/>
              <a:ext cx="182066" cy="255179"/>
            </a:xfrm>
            <a:custGeom>
              <a:avLst/>
              <a:gdLst>
                <a:gd name="T0" fmla="*/ 93 w 117"/>
                <a:gd name="T1" fmla="*/ 64 h 164"/>
                <a:gd name="T2" fmla="*/ 111 w 117"/>
                <a:gd name="T3" fmla="*/ 82 h 164"/>
                <a:gd name="T4" fmla="*/ 117 w 117"/>
                <a:gd name="T5" fmla="*/ 109 h 164"/>
                <a:gd name="T6" fmla="*/ 110 w 117"/>
                <a:gd name="T7" fmla="*/ 138 h 164"/>
                <a:gd name="T8" fmla="*/ 88 w 117"/>
                <a:gd name="T9" fmla="*/ 157 h 164"/>
                <a:gd name="T10" fmla="*/ 55 w 117"/>
                <a:gd name="T11" fmla="*/ 164 h 164"/>
                <a:gd name="T12" fmla="*/ 24 w 117"/>
                <a:gd name="T13" fmla="*/ 159 h 164"/>
                <a:gd name="T14" fmla="*/ 0 w 117"/>
                <a:gd name="T15" fmla="*/ 145 h 164"/>
                <a:gd name="T16" fmla="*/ 11 w 117"/>
                <a:gd name="T17" fmla="*/ 120 h 164"/>
                <a:gd name="T18" fmla="*/ 55 w 117"/>
                <a:gd name="T19" fmla="*/ 136 h 164"/>
                <a:gd name="T20" fmla="*/ 84 w 117"/>
                <a:gd name="T21" fmla="*/ 110 h 164"/>
                <a:gd name="T22" fmla="*/ 76 w 117"/>
                <a:gd name="T23" fmla="*/ 92 h 164"/>
                <a:gd name="T24" fmla="*/ 56 w 117"/>
                <a:gd name="T25" fmla="*/ 85 h 164"/>
                <a:gd name="T26" fmla="*/ 40 w 117"/>
                <a:gd name="T27" fmla="*/ 88 h 164"/>
                <a:gd name="T28" fmla="*/ 26 w 117"/>
                <a:gd name="T29" fmla="*/ 96 h 164"/>
                <a:gd name="T30" fmla="*/ 6 w 117"/>
                <a:gd name="T31" fmla="*/ 96 h 164"/>
                <a:gd name="T32" fmla="*/ 6 w 117"/>
                <a:gd name="T33" fmla="*/ 0 h 164"/>
                <a:gd name="T34" fmla="*/ 109 w 117"/>
                <a:gd name="T35" fmla="*/ 0 h 164"/>
                <a:gd name="T36" fmla="*/ 109 w 117"/>
                <a:gd name="T37" fmla="*/ 28 h 164"/>
                <a:gd name="T38" fmla="*/ 40 w 117"/>
                <a:gd name="T39" fmla="*/ 28 h 164"/>
                <a:gd name="T40" fmla="*/ 40 w 117"/>
                <a:gd name="T41" fmla="*/ 64 h 164"/>
                <a:gd name="T42" fmla="*/ 66 w 117"/>
                <a:gd name="T43" fmla="*/ 57 h 164"/>
                <a:gd name="T44" fmla="*/ 93 w 117"/>
                <a:gd name="T45" fmla="*/ 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7" h="164">
                  <a:moveTo>
                    <a:pt x="93" y="64"/>
                  </a:moveTo>
                  <a:cubicBezTo>
                    <a:pt x="100" y="68"/>
                    <a:pt x="107" y="74"/>
                    <a:pt x="111" y="82"/>
                  </a:cubicBezTo>
                  <a:cubicBezTo>
                    <a:pt x="115" y="90"/>
                    <a:pt x="117" y="99"/>
                    <a:pt x="117" y="109"/>
                  </a:cubicBezTo>
                  <a:cubicBezTo>
                    <a:pt x="117" y="120"/>
                    <a:pt x="115" y="130"/>
                    <a:pt x="110" y="138"/>
                  </a:cubicBezTo>
                  <a:cubicBezTo>
                    <a:pt x="105" y="146"/>
                    <a:pt x="97" y="152"/>
                    <a:pt x="88" y="157"/>
                  </a:cubicBezTo>
                  <a:cubicBezTo>
                    <a:pt x="78" y="161"/>
                    <a:pt x="67" y="164"/>
                    <a:pt x="55" y="164"/>
                  </a:cubicBezTo>
                  <a:cubicBezTo>
                    <a:pt x="45" y="164"/>
                    <a:pt x="35" y="162"/>
                    <a:pt x="24" y="159"/>
                  </a:cubicBezTo>
                  <a:cubicBezTo>
                    <a:pt x="14" y="155"/>
                    <a:pt x="6" y="151"/>
                    <a:pt x="0" y="145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26" y="130"/>
                    <a:pt x="40" y="136"/>
                    <a:pt x="55" y="136"/>
                  </a:cubicBezTo>
                  <a:cubicBezTo>
                    <a:pt x="74" y="136"/>
                    <a:pt x="84" y="127"/>
                    <a:pt x="84" y="110"/>
                  </a:cubicBezTo>
                  <a:cubicBezTo>
                    <a:pt x="84" y="102"/>
                    <a:pt x="81" y="96"/>
                    <a:pt x="76" y="92"/>
                  </a:cubicBezTo>
                  <a:cubicBezTo>
                    <a:pt x="71" y="87"/>
                    <a:pt x="65" y="85"/>
                    <a:pt x="56" y="85"/>
                  </a:cubicBezTo>
                  <a:cubicBezTo>
                    <a:pt x="51" y="85"/>
                    <a:pt x="46" y="86"/>
                    <a:pt x="40" y="88"/>
                  </a:cubicBezTo>
                  <a:cubicBezTo>
                    <a:pt x="35" y="90"/>
                    <a:pt x="30" y="92"/>
                    <a:pt x="26" y="96"/>
                  </a:cubicBezTo>
                  <a:cubicBezTo>
                    <a:pt x="6" y="96"/>
                    <a:pt x="6" y="96"/>
                    <a:pt x="6" y="9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7" y="59"/>
                    <a:pt x="56" y="57"/>
                    <a:pt x="66" y="57"/>
                  </a:cubicBezTo>
                  <a:cubicBezTo>
                    <a:pt x="76" y="57"/>
                    <a:pt x="85" y="59"/>
                    <a:pt x="93" y="64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îŝ1ïḓe">
              <a:extLst>
                <a:ext uri="{FF2B5EF4-FFF2-40B4-BE49-F238E27FC236}">
                  <a16:creationId xmlns:a16="http://schemas.microsoft.com/office/drawing/2014/main" id="{BEF5F8F8-59BA-4264-9B50-6C4A869A5E59}"/>
                </a:ext>
              </a:extLst>
            </p:cNvPr>
            <p:cNvSpPr/>
            <p:nvPr/>
          </p:nvSpPr>
          <p:spPr bwMode="auto">
            <a:xfrm>
              <a:off x="9930491" y="5481454"/>
              <a:ext cx="189234" cy="255179"/>
            </a:xfrm>
            <a:custGeom>
              <a:avLst/>
              <a:gdLst>
                <a:gd name="T0" fmla="*/ 97 w 121"/>
                <a:gd name="T1" fmla="*/ 65 h 165"/>
                <a:gd name="T2" fmla="*/ 115 w 121"/>
                <a:gd name="T3" fmla="*/ 83 h 165"/>
                <a:gd name="T4" fmla="*/ 121 w 121"/>
                <a:gd name="T5" fmla="*/ 111 h 165"/>
                <a:gd name="T6" fmla="*/ 114 w 121"/>
                <a:gd name="T7" fmla="*/ 139 h 165"/>
                <a:gd name="T8" fmla="*/ 94 w 121"/>
                <a:gd name="T9" fmla="*/ 158 h 165"/>
                <a:gd name="T10" fmla="*/ 66 w 121"/>
                <a:gd name="T11" fmla="*/ 165 h 165"/>
                <a:gd name="T12" fmla="*/ 17 w 121"/>
                <a:gd name="T13" fmla="*/ 144 h 165"/>
                <a:gd name="T14" fmla="*/ 0 w 121"/>
                <a:gd name="T15" fmla="*/ 85 h 165"/>
                <a:gd name="T16" fmla="*/ 9 w 121"/>
                <a:gd name="T17" fmla="*/ 39 h 165"/>
                <a:gd name="T18" fmla="*/ 32 w 121"/>
                <a:gd name="T19" fmla="*/ 10 h 165"/>
                <a:gd name="T20" fmla="*/ 68 w 121"/>
                <a:gd name="T21" fmla="*/ 0 h 165"/>
                <a:gd name="T22" fmla="*/ 97 w 121"/>
                <a:gd name="T23" fmla="*/ 4 h 165"/>
                <a:gd name="T24" fmla="*/ 121 w 121"/>
                <a:gd name="T25" fmla="*/ 18 h 165"/>
                <a:gd name="T26" fmla="*/ 110 w 121"/>
                <a:gd name="T27" fmla="*/ 43 h 165"/>
                <a:gd name="T28" fmla="*/ 70 w 121"/>
                <a:gd name="T29" fmla="*/ 28 h 165"/>
                <a:gd name="T30" fmla="*/ 45 w 121"/>
                <a:gd name="T31" fmla="*/ 40 h 165"/>
                <a:gd name="T32" fmla="*/ 35 w 121"/>
                <a:gd name="T33" fmla="*/ 78 h 165"/>
                <a:gd name="T34" fmla="*/ 50 w 121"/>
                <a:gd name="T35" fmla="*/ 63 h 165"/>
                <a:gd name="T36" fmla="*/ 72 w 121"/>
                <a:gd name="T37" fmla="*/ 58 h 165"/>
                <a:gd name="T38" fmla="*/ 97 w 121"/>
                <a:gd name="T39" fmla="*/ 65 h 165"/>
                <a:gd name="T40" fmla="*/ 81 w 121"/>
                <a:gd name="T41" fmla="*/ 130 h 165"/>
                <a:gd name="T42" fmla="*/ 88 w 121"/>
                <a:gd name="T43" fmla="*/ 112 h 165"/>
                <a:gd name="T44" fmla="*/ 81 w 121"/>
                <a:gd name="T45" fmla="*/ 93 h 165"/>
                <a:gd name="T46" fmla="*/ 64 w 121"/>
                <a:gd name="T47" fmla="*/ 86 h 165"/>
                <a:gd name="T48" fmla="*/ 46 w 121"/>
                <a:gd name="T49" fmla="*/ 93 h 165"/>
                <a:gd name="T50" fmla="*/ 40 w 121"/>
                <a:gd name="T51" fmla="*/ 112 h 165"/>
                <a:gd name="T52" fmla="*/ 46 w 121"/>
                <a:gd name="T53" fmla="*/ 130 h 165"/>
                <a:gd name="T54" fmla="*/ 64 w 121"/>
                <a:gd name="T55" fmla="*/ 137 h 165"/>
                <a:gd name="T56" fmla="*/ 81 w 121"/>
                <a:gd name="T57" fmla="*/ 13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1" h="165">
                  <a:moveTo>
                    <a:pt x="97" y="65"/>
                  </a:moveTo>
                  <a:cubicBezTo>
                    <a:pt x="105" y="69"/>
                    <a:pt x="111" y="75"/>
                    <a:pt x="115" y="83"/>
                  </a:cubicBezTo>
                  <a:cubicBezTo>
                    <a:pt x="119" y="91"/>
                    <a:pt x="121" y="100"/>
                    <a:pt x="121" y="111"/>
                  </a:cubicBezTo>
                  <a:cubicBezTo>
                    <a:pt x="121" y="121"/>
                    <a:pt x="119" y="130"/>
                    <a:pt x="114" y="139"/>
                  </a:cubicBezTo>
                  <a:cubicBezTo>
                    <a:pt x="109" y="147"/>
                    <a:pt x="103" y="153"/>
                    <a:pt x="94" y="158"/>
                  </a:cubicBezTo>
                  <a:cubicBezTo>
                    <a:pt x="86" y="163"/>
                    <a:pt x="76" y="165"/>
                    <a:pt x="66" y="165"/>
                  </a:cubicBezTo>
                  <a:cubicBezTo>
                    <a:pt x="45" y="165"/>
                    <a:pt x="29" y="158"/>
                    <a:pt x="17" y="144"/>
                  </a:cubicBezTo>
                  <a:cubicBezTo>
                    <a:pt x="6" y="130"/>
                    <a:pt x="0" y="111"/>
                    <a:pt x="0" y="85"/>
                  </a:cubicBezTo>
                  <a:cubicBezTo>
                    <a:pt x="0" y="67"/>
                    <a:pt x="3" y="52"/>
                    <a:pt x="9" y="39"/>
                  </a:cubicBezTo>
                  <a:cubicBezTo>
                    <a:pt x="14" y="26"/>
                    <a:pt x="22" y="17"/>
                    <a:pt x="32" y="10"/>
                  </a:cubicBezTo>
                  <a:cubicBezTo>
                    <a:pt x="42" y="3"/>
                    <a:pt x="54" y="0"/>
                    <a:pt x="68" y="0"/>
                  </a:cubicBezTo>
                  <a:cubicBezTo>
                    <a:pt x="78" y="0"/>
                    <a:pt x="88" y="1"/>
                    <a:pt x="97" y="4"/>
                  </a:cubicBezTo>
                  <a:cubicBezTo>
                    <a:pt x="107" y="8"/>
                    <a:pt x="115" y="12"/>
                    <a:pt x="121" y="18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96" y="33"/>
                    <a:pt x="83" y="28"/>
                    <a:pt x="70" y="28"/>
                  </a:cubicBezTo>
                  <a:cubicBezTo>
                    <a:pt x="59" y="28"/>
                    <a:pt x="51" y="32"/>
                    <a:pt x="45" y="40"/>
                  </a:cubicBezTo>
                  <a:cubicBezTo>
                    <a:pt x="39" y="49"/>
                    <a:pt x="36" y="61"/>
                    <a:pt x="35" y="78"/>
                  </a:cubicBezTo>
                  <a:cubicBezTo>
                    <a:pt x="39" y="72"/>
                    <a:pt x="44" y="67"/>
                    <a:pt x="50" y="63"/>
                  </a:cubicBezTo>
                  <a:cubicBezTo>
                    <a:pt x="57" y="60"/>
                    <a:pt x="64" y="58"/>
                    <a:pt x="72" y="58"/>
                  </a:cubicBezTo>
                  <a:cubicBezTo>
                    <a:pt x="82" y="58"/>
                    <a:pt x="90" y="60"/>
                    <a:pt x="97" y="65"/>
                  </a:cubicBezTo>
                  <a:close/>
                  <a:moveTo>
                    <a:pt x="81" y="130"/>
                  </a:moveTo>
                  <a:cubicBezTo>
                    <a:pt x="85" y="126"/>
                    <a:pt x="88" y="120"/>
                    <a:pt x="88" y="112"/>
                  </a:cubicBezTo>
                  <a:cubicBezTo>
                    <a:pt x="88" y="104"/>
                    <a:pt x="86" y="98"/>
                    <a:pt x="81" y="93"/>
                  </a:cubicBezTo>
                  <a:cubicBezTo>
                    <a:pt x="77" y="88"/>
                    <a:pt x="71" y="86"/>
                    <a:pt x="64" y="86"/>
                  </a:cubicBezTo>
                  <a:cubicBezTo>
                    <a:pt x="57" y="86"/>
                    <a:pt x="51" y="88"/>
                    <a:pt x="46" y="93"/>
                  </a:cubicBezTo>
                  <a:cubicBezTo>
                    <a:pt x="42" y="98"/>
                    <a:pt x="40" y="104"/>
                    <a:pt x="40" y="112"/>
                  </a:cubicBezTo>
                  <a:cubicBezTo>
                    <a:pt x="40" y="119"/>
                    <a:pt x="42" y="126"/>
                    <a:pt x="46" y="130"/>
                  </a:cubicBezTo>
                  <a:cubicBezTo>
                    <a:pt x="51" y="135"/>
                    <a:pt x="57" y="137"/>
                    <a:pt x="64" y="137"/>
                  </a:cubicBezTo>
                  <a:cubicBezTo>
                    <a:pt x="71" y="137"/>
                    <a:pt x="77" y="135"/>
                    <a:pt x="81" y="130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íS1iďê">
              <a:extLst>
                <a:ext uri="{FF2B5EF4-FFF2-40B4-BE49-F238E27FC236}">
                  <a16:creationId xmlns:a16="http://schemas.microsoft.com/office/drawing/2014/main" id="{0B54206F-E1E2-477B-BD62-D674C7DDD583}"/>
                </a:ext>
              </a:extLst>
            </p:cNvPr>
            <p:cNvSpPr/>
            <p:nvPr/>
          </p:nvSpPr>
          <p:spPr bwMode="auto">
            <a:xfrm>
              <a:off x="9941960" y="4985431"/>
              <a:ext cx="180633" cy="249445"/>
            </a:xfrm>
            <a:custGeom>
              <a:avLst/>
              <a:gdLst>
                <a:gd name="T0" fmla="*/ 0 w 126"/>
                <a:gd name="T1" fmla="*/ 0 h 174"/>
                <a:gd name="T2" fmla="*/ 126 w 126"/>
                <a:gd name="T3" fmla="*/ 0 h 174"/>
                <a:gd name="T4" fmla="*/ 126 w 126"/>
                <a:gd name="T5" fmla="*/ 28 h 174"/>
                <a:gd name="T6" fmla="*/ 48 w 126"/>
                <a:gd name="T7" fmla="*/ 174 h 174"/>
                <a:gd name="T8" fmla="*/ 6 w 126"/>
                <a:gd name="T9" fmla="*/ 174 h 174"/>
                <a:gd name="T10" fmla="*/ 85 w 126"/>
                <a:gd name="T11" fmla="*/ 30 h 174"/>
                <a:gd name="T12" fmla="*/ 0 w 126"/>
                <a:gd name="T13" fmla="*/ 30 h 174"/>
                <a:gd name="T14" fmla="*/ 0 w 126"/>
                <a:gd name="T1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6" h="174">
                  <a:moveTo>
                    <a:pt x="0" y="0"/>
                  </a:moveTo>
                  <a:lnTo>
                    <a:pt x="126" y="0"/>
                  </a:lnTo>
                  <a:lnTo>
                    <a:pt x="126" y="28"/>
                  </a:lnTo>
                  <a:lnTo>
                    <a:pt x="48" y="174"/>
                  </a:lnTo>
                  <a:lnTo>
                    <a:pt x="6" y="174"/>
                  </a:lnTo>
                  <a:lnTo>
                    <a:pt x="85" y="30"/>
                  </a:lnTo>
                  <a:lnTo>
                    <a:pt x="0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ïṧḷïḑê">
              <a:extLst>
                <a:ext uri="{FF2B5EF4-FFF2-40B4-BE49-F238E27FC236}">
                  <a16:creationId xmlns:a16="http://schemas.microsoft.com/office/drawing/2014/main" id="{1C0176CA-04A1-4FF6-BB60-7A25E7599DC1}"/>
                </a:ext>
              </a:extLst>
            </p:cNvPr>
            <p:cNvSpPr/>
            <p:nvPr/>
          </p:nvSpPr>
          <p:spPr bwMode="auto">
            <a:xfrm>
              <a:off x="9431602" y="5481454"/>
              <a:ext cx="193536" cy="255179"/>
            </a:xfrm>
            <a:custGeom>
              <a:avLst/>
              <a:gdLst>
                <a:gd name="T0" fmla="*/ 115 w 124"/>
                <a:gd name="T1" fmla="*/ 94 h 165"/>
                <a:gd name="T2" fmla="*/ 124 w 124"/>
                <a:gd name="T3" fmla="*/ 119 h 165"/>
                <a:gd name="T4" fmla="*/ 116 w 124"/>
                <a:gd name="T5" fmla="*/ 144 h 165"/>
                <a:gd name="T6" fmla="*/ 94 w 124"/>
                <a:gd name="T7" fmla="*/ 159 h 165"/>
                <a:gd name="T8" fmla="*/ 62 w 124"/>
                <a:gd name="T9" fmla="*/ 165 h 165"/>
                <a:gd name="T10" fmla="*/ 30 w 124"/>
                <a:gd name="T11" fmla="*/ 159 h 165"/>
                <a:gd name="T12" fmla="*/ 8 w 124"/>
                <a:gd name="T13" fmla="*/ 144 h 165"/>
                <a:gd name="T14" fmla="*/ 0 w 124"/>
                <a:gd name="T15" fmla="*/ 119 h 165"/>
                <a:gd name="T16" fmla="*/ 9 w 124"/>
                <a:gd name="T17" fmla="*/ 94 h 165"/>
                <a:gd name="T18" fmla="*/ 33 w 124"/>
                <a:gd name="T19" fmla="*/ 80 h 165"/>
                <a:gd name="T20" fmla="*/ 12 w 124"/>
                <a:gd name="T21" fmla="*/ 66 h 165"/>
                <a:gd name="T22" fmla="*/ 4 w 124"/>
                <a:gd name="T23" fmla="*/ 44 h 165"/>
                <a:gd name="T24" fmla="*/ 12 w 124"/>
                <a:gd name="T25" fmla="*/ 20 h 165"/>
                <a:gd name="T26" fmla="*/ 32 w 124"/>
                <a:gd name="T27" fmla="*/ 5 h 165"/>
                <a:gd name="T28" fmla="*/ 62 w 124"/>
                <a:gd name="T29" fmla="*/ 0 h 165"/>
                <a:gd name="T30" fmla="*/ 92 w 124"/>
                <a:gd name="T31" fmla="*/ 5 h 165"/>
                <a:gd name="T32" fmla="*/ 113 w 124"/>
                <a:gd name="T33" fmla="*/ 20 h 165"/>
                <a:gd name="T34" fmla="*/ 120 w 124"/>
                <a:gd name="T35" fmla="*/ 44 h 165"/>
                <a:gd name="T36" fmla="*/ 112 w 124"/>
                <a:gd name="T37" fmla="*/ 66 h 165"/>
                <a:gd name="T38" fmla="*/ 91 w 124"/>
                <a:gd name="T39" fmla="*/ 80 h 165"/>
                <a:gd name="T40" fmla="*/ 115 w 124"/>
                <a:gd name="T41" fmla="*/ 94 h 165"/>
                <a:gd name="T42" fmla="*/ 83 w 124"/>
                <a:gd name="T43" fmla="*/ 132 h 165"/>
                <a:gd name="T44" fmla="*/ 91 w 124"/>
                <a:gd name="T45" fmla="*/ 117 h 165"/>
                <a:gd name="T46" fmla="*/ 83 w 124"/>
                <a:gd name="T47" fmla="*/ 101 h 165"/>
                <a:gd name="T48" fmla="*/ 62 w 124"/>
                <a:gd name="T49" fmla="*/ 93 h 165"/>
                <a:gd name="T50" fmla="*/ 41 w 124"/>
                <a:gd name="T51" fmla="*/ 101 h 165"/>
                <a:gd name="T52" fmla="*/ 33 w 124"/>
                <a:gd name="T53" fmla="*/ 117 h 165"/>
                <a:gd name="T54" fmla="*/ 41 w 124"/>
                <a:gd name="T55" fmla="*/ 132 h 165"/>
                <a:gd name="T56" fmla="*/ 62 w 124"/>
                <a:gd name="T57" fmla="*/ 138 h 165"/>
                <a:gd name="T58" fmla="*/ 83 w 124"/>
                <a:gd name="T59" fmla="*/ 132 h 165"/>
                <a:gd name="T60" fmla="*/ 44 w 124"/>
                <a:gd name="T61" fmla="*/ 32 h 165"/>
                <a:gd name="T62" fmla="*/ 37 w 124"/>
                <a:gd name="T63" fmla="*/ 47 h 165"/>
                <a:gd name="T64" fmla="*/ 44 w 124"/>
                <a:gd name="T65" fmla="*/ 63 h 165"/>
                <a:gd name="T66" fmla="*/ 62 w 124"/>
                <a:gd name="T67" fmla="*/ 71 h 165"/>
                <a:gd name="T68" fmla="*/ 80 w 124"/>
                <a:gd name="T69" fmla="*/ 63 h 165"/>
                <a:gd name="T70" fmla="*/ 87 w 124"/>
                <a:gd name="T71" fmla="*/ 47 h 165"/>
                <a:gd name="T72" fmla="*/ 80 w 124"/>
                <a:gd name="T73" fmla="*/ 32 h 165"/>
                <a:gd name="T74" fmla="*/ 62 w 124"/>
                <a:gd name="T75" fmla="*/ 27 h 165"/>
                <a:gd name="T76" fmla="*/ 44 w 124"/>
                <a:gd name="T77" fmla="*/ 3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4" h="165">
                  <a:moveTo>
                    <a:pt x="115" y="94"/>
                  </a:moveTo>
                  <a:cubicBezTo>
                    <a:pt x="121" y="101"/>
                    <a:pt x="124" y="109"/>
                    <a:pt x="124" y="119"/>
                  </a:cubicBezTo>
                  <a:cubicBezTo>
                    <a:pt x="124" y="129"/>
                    <a:pt x="121" y="137"/>
                    <a:pt x="116" y="144"/>
                  </a:cubicBezTo>
                  <a:cubicBezTo>
                    <a:pt x="111" y="150"/>
                    <a:pt x="104" y="156"/>
                    <a:pt x="94" y="159"/>
                  </a:cubicBezTo>
                  <a:cubicBezTo>
                    <a:pt x="85" y="163"/>
                    <a:pt x="74" y="165"/>
                    <a:pt x="62" y="165"/>
                  </a:cubicBezTo>
                  <a:cubicBezTo>
                    <a:pt x="50" y="165"/>
                    <a:pt x="39" y="163"/>
                    <a:pt x="30" y="159"/>
                  </a:cubicBezTo>
                  <a:cubicBezTo>
                    <a:pt x="21" y="156"/>
                    <a:pt x="13" y="150"/>
                    <a:pt x="8" y="144"/>
                  </a:cubicBezTo>
                  <a:cubicBezTo>
                    <a:pt x="3" y="137"/>
                    <a:pt x="0" y="129"/>
                    <a:pt x="0" y="119"/>
                  </a:cubicBezTo>
                  <a:cubicBezTo>
                    <a:pt x="0" y="109"/>
                    <a:pt x="3" y="101"/>
                    <a:pt x="9" y="94"/>
                  </a:cubicBezTo>
                  <a:cubicBezTo>
                    <a:pt x="15" y="87"/>
                    <a:pt x="23" y="83"/>
                    <a:pt x="33" y="80"/>
                  </a:cubicBezTo>
                  <a:cubicBezTo>
                    <a:pt x="24" y="77"/>
                    <a:pt x="17" y="72"/>
                    <a:pt x="12" y="66"/>
                  </a:cubicBezTo>
                  <a:cubicBezTo>
                    <a:pt x="7" y="60"/>
                    <a:pt x="4" y="52"/>
                    <a:pt x="4" y="44"/>
                  </a:cubicBezTo>
                  <a:cubicBezTo>
                    <a:pt x="4" y="35"/>
                    <a:pt x="7" y="27"/>
                    <a:pt x="12" y="20"/>
                  </a:cubicBezTo>
                  <a:cubicBezTo>
                    <a:pt x="17" y="14"/>
                    <a:pt x="24" y="9"/>
                    <a:pt x="32" y="5"/>
                  </a:cubicBezTo>
                  <a:cubicBezTo>
                    <a:pt x="41" y="2"/>
                    <a:pt x="51" y="0"/>
                    <a:pt x="62" y="0"/>
                  </a:cubicBezTo>
                  <a:cubicBezTo>
                    <a:pt x="73" y="0"/>
                    <a:pt x="83" y="2"/>
                    <a:pt x="92" y="5"/>
                  </a:cubicBezTo>
                  <a:cubicBezTo>
                    <a:pt x="101" y="9"/>
                    <a:pt x="108" y="14"/>
                    <a:pt x="113" y="20"/>
                  </a:cubicBezTo>
                  <a:cubicBezTo>
                    <a:pt x="118" y="27"/>
                    <a:pt x="120" y="35"/>
                    <a:pt x="120" y="44"/>
                  </a:cubicBezTo>
                  <a:cubicBezTo>
                    <a:pt x="120" y="52"/>
                    <a:pt x="118" y="60"/>
                    <a:pt x="112" y="66"/>
                  </a:cubicBezTo>
                  <a:cubicBezTo>
                    <a:pt x="107" y="73"/>
                    <a:pt x="100" y="77"/>
                    <a:pt x="91" y="80"/>
                  </a:cubicBezTo>
                  <a:cubicBezTo>
                    <a:pt x="102" y="83"/>
                    <a:pt x="110" y="88"/>
                    <a:pt x="115" y="94"/>
                  </a:cubicBezTo>
                  <a:close/>
                  <a:moveTo>
                    <a:pt x="83" y="132"/>
                  </a:moveTo>
                  <a:cubicBezTo>
                    <a:pt x="89" y="129"/>
                    <a:pt x="91" y="123"/>
                    <a:pt x="91" y="117"/>
                  </a:cubicBezTo>
                  <a:cubicBezTo>
                    <a:pt x="91" y="110"/>
                    <a:pt x="89" y="105"/>
                    <a:pt x="83" y="101"/>
                  </a:cubicBezTo>
                  <a:cubicBezTo>
                    <a:pt x="78" y="97"/>
                    <a:pt x="71" y="94"/>
                    <a:pt x="62" y="93"/>
                  </a:cubicBezTo>
                  <a:cubicBezTo>
                    <a:pt x="53" y="94"/>
                    <a:pt x="46" y="97"/>
                    <a:pt x="41" y="101"/>
                  </a:cubicBezTo>
                  <a:cubicBezTo>
                    <a:pt x="36" y="105"/>
                    <a:pt x="33" y="110"/>
                    <a:pt x="33" y="117"/>
                  </a:cubicBezTo>
                  <a:cubicBezTo>
                    <a:pt x="33" y="123"/>
                    <a:pt x="36" y="129"/>
                    <a:pt x="41" y="132"/>
                  </a:cubicBezTo>
                  <a:cubicBezTo>
                    <a:pt x="46" y="136"/>
                    <a:pt x="53" y="138"/>
                    <a:pt x="62" y="138"/>
                  </a:cubicBezTo>
                  <a:cubicBezTo>
                    <a:pt x="71" y="138"/>
                    <a:pt x="78" y="136"/>
                    <a:pt x="83" y="132"/>
                  </a:cubicBezTo>
                  <a:close/>
                  <a:moveTo>
                    <a:pt x="44" y="32"/>
                  </a:moveTo>
                  <a:cubicBezTo>
                    <a:pt x="40" y="36"/>
                    <a:pt x="37" y="41"/>
                    <a:pt x="37" y="47"/>
                  </a:cubicBezTo>
                  <a:cubicBezTo>
                    <a:pt x="37" y="54"/>
                    <a:pt x="40" y="59"/>
                    <a:pt x="44" y="63"/>
                  </a:cubicBezTo>
                  <a:cubicBezTo>
                    <a:pt x="49" y="67"/>
                    <a:pt x="55" y="69"/>
                    <a:pt x="62" y="71"/>
                  </a:cubicBezTo>
                  <a:cubicBezTo>
                    <a:pt x="70" y="69"/>
                    <a:pt x="76" y="67"/>
                    <a:pt x="80" y="63"/>
                  </a:cubicBezTo>
                  <a:cubicBezTo>
                    <a:pt x="85" y="59"/>
                    <a:pt x="87" y="54"/>
                    <a:pt x="87" y="47"/>
                  </a:cubicBezTo>
                  <a:cubicBezTo>
                    <a:pt x="87" y="41"/>
                    <a:pt x="85" y="36"/>
                    <a:pt x="80" y="32"/>
                  </a:cubicBezTo>
                  <a:cubicBezTo>
                    <a:pt x="76" y="29"/>
                    <a:pt x="70" y="27"/>
                    <a:pt x="62" y="27"/>
                  </a:cubicBezTo>
                  <a:cubicBezTo>
                    <a:pt x="55" y="27"/>
                    <a:pt x="49" y="29"/>
                    <a:pt x="44" y="32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ïṧḻidê">
              <a:extLst>
                <a:ext uri="{FF2B5EF4-FFF2-40B4-BE49-F238E27FC236}">
                  <a16:creationId xmlns:a16="http://schemas.microsoft.com/office/drawing/2014/main" id="{D4E0B460-0B26-4A97-BC65-301634D04F92}"/>
                </a:ext>
              </a:extLst>
            </p:cNvPr>
            <p:cNvSpPr/>
            <p:nvPr/>
          </p:nvSpPr>
          <p:spPr bwMode="auto">
            <a:xfrm>
              <a:off x="9447371" y="4976830"/>
              <a:ext cx="163429" cy="252312"/>
            </a:xfrm>
            <a:custGeom>
              <a:avLst/>
              <a:gdLst>
                <a:gd name="T0" fmla="*/ 76 w 114"/>
                <a:gd name="T1" fmla="*/ 145 h 176"/>
                <a:gd name="T2" fmla="*/ 114 w 114"/>
                <a:gd name="T3" fmla="*/ 145 h 176"/>
                <a:gd name="T4" fmla="*/ 114 w 114"/>
                <a:gd name="T5" fmla="*/ 176 h 176"/>
                <a:gd name="T6" fmla="*/ 0 w 114"/>
                <a:gd name="T7" fmla="*/ 176 h 176"/>
                <a:gd name="T8" fmla="*/ 0 w 114"/>
                <a:gd name="T9" fmla="*/ 145 h 176"/>
                <a:gd name="T10" fmla="*/ 37 w 114"/>
                <a:gd name="T11" fmla="*/ 145 h 176"/>
                <a:gd name="T12" fmla="*/ 37 w 114"/>
                <a:gd name="T13" fmla="*/ 44 h 176"/>
                <a:gd name="T14" fmla="*/ 2 w 114"/>
                <a:gd name="T15" fmla="*/ 64 h 176"/>
                <a:gd name="T16" fmla="*/ 2 w 114"/>
                <a:gd name="T17" fmla="*/ 31 h 176"/>
                <a:gd name="T18" fmla="*/ 53 w 114"/>
                <a:gd name="T19" fmla="*/ 0 h 176"/>
                <a:gd name="T20" fmla="*/ 76 w 114"/>
                <a:gd name="T21" fmla="*/ 0 h 176"/>
                <a:gd name="T22" fmla="*/ 76 w 114"/>
                <a:gd name="T23" fmla="*/ 14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4" h="176">
                  <a:moveTo>
                    <a:pt x="76" y="145"/>
                  </a:moveTo>
                  <a:lnTo>
                    <a:pt x="114" y="145"/>
                  </a:lnTo>
                  <a:lnTo>
                    <a:pt x="114" y="176"/>
                  </a:lnTo>
                  <a:lnTo>
                    <a:pt x="0" y="176"/>
                  </a:lnTo>
                  <a:lnTo>
                    <a:pt x="0" y="145"/>
                  </a:lnTo>
                  <a:lnTo>
                    <a:pt x="37" y="145"/>
                  </a:lnTo>
                  <a:lnTo>
                    <a:pt x="37" y="44"/>
                  </a:lnTo>
                  <a:lnTo>
                    <a:pt x="2" y="64"/>
                  </a:lnTo>
                  <a:lnTo>
                    <a:pt x="2" y="31"/>
                  </a:lnTo>
                  <a:lnTo>
                    <a:pt x="53" y="0"/>
                  </a:lnTo>
                  <a:lnTo>
                    <a:pt x="76" y="0"/>
                  </a:lnTo>
                  <a:lnTo>
                    <a:pt x="76" y="145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ïṩḻidê">
              <a:extLst>
                <a:ext uri="{FF2B5EF4-FFF2-40B4-BE49-F238E27FC236}">
                  <a16:creationId xmlns:a16="http://schemas.microsoft.com/office/drawing/2014/main" id="{C02DF696-9584-4B65-8CC2-20EEC2293A88}"/>
                </a:ext>
              </a:extLst>
            </p:cNvPr>
            <p:cNvSpPr/>
            <p:nvPr/>
          </p:nvSpPr>
          <p:spPr bwMode="auto">
            <a:xfrm>
              <a:off x="5800316" y="2310351"/>
              <a:ext cx="1337541" cy="1037919"/>
            </a:xfrm>
            <a:custGeom>
              <a:avLst/>
              <a:gdLst>
                <a:gd name="T0" fmla="*/ 856 w 860"/>
                <a:gd name="T1" fmla="*/ 298 h 668"/>
                <a:gd name="T2" fmla="*/ 710 w 860"/>
                <a:gd name="T3" fmla="*/ 169 h 668"/>
                <a:gd name="T4" fmla="*/ 710 w 860"/>
                <a:gd name="T5" fmla="*/ 162 h 668"/>
                <a:gd name="T6" fmla="*/ 531 w 860"/>
                <a:gd name="T7" fmla="*/ 6 h 668"/>
                <a:gd name="T8" fmla="*/ 409 w 860"/>
                <a:gd name="T9" fmla="*/ 72 h 668"/>
                <a:gd name="T10" fmla="*/ 289 w 860"/>
                <a:gd name="T11" fmla="*/ 27 h 668"/>
                <a:gd name="T12" fmla="*/ 144 w 860"/>
                <a:gd name="T13" fmla="*/ 184 h 668"/>
                <a:gd name="T14" fmla="*/ 134 w 860"/>
                <a:gd name="T15" fmla="*/ 184 h 668"/>
                <a:gd name="T16" fmla="*/ 5 w 860"/>
                <a:gd name="T17" fmla="*/ 331 h 668"/>
                <a:gd name="T18" fmla="*/ 97 w 860"/>
                <a:gd name="T19" fmla="*/ 452 h 668"/>
                <a:gd name="T20" fmla="*/ 92 w 860"/>
                <a:gd name="T21" fmla="*/ 502 h 668"/>
                <a:gd name="T22" fmla="*/ 271 w 860"/>
                <a:gd name="T23" fmla="*/ 663 h 668"/>
                <a:gd name="T24" fmla="*/ 350 w 860"/>
                <a:gd name="T25" fmla="*/ 639 h 668"/>
                <a:gd name="T26" fmla="*/ 363 w 860"/>
                <a:gd name="T27" fmla="*/ 646 h 668"/>
                <a:gd name="T28" fmla="*/ 439 w 860"/>
                <a:gd name="T29" fmla="*/ 664 h 668"/>
                <a:gd name="T30" fmla="*/ 550 w 860"/>
                <a:gd name="T31" fmla="*/ 589 h 668"/>
                <a:gd name="T32" fmla="*/ 630 w 860"/>
                <a:gd name="T33" fmla="*/ 606 h 668"/>
                <a:gd name="T34" fmla="*/ 770 w 860"/>
                <a:gd name="T35" fmla="*/ 447 h 668"/>
                <a:gd name="T36" fmla="*/ 768 w 860"/>
                <a:gd name="T37" fmla="*/ 437 h 668"/>
                <a:gd name="T38" fmla="*/ 856 w 860"/>
                <a:gd name="T39" fmla="*/ 298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0" h="668">
                  <a:moveTo>
                    <a:pt x="856" y="298"/>
                  </a:moveTo>
                  <a:cubicBezTo>
                    <a:pt x="851" y="223"/>
                    <a:pt x="786" y="165"/>
                    <a:pt x="710" y="169"/>
                  </a:cubicBezTo>
                  <a:cubicBezTo>
                    <a:pt x="710" y="167"/>
                    <a:pt x="710" y="165"/>
                    <a:pt x="710" y="162"/>
                  </a:cubicBezTo>
                  <a:cubicBezTo>
                    <a:pt x="704" y="70"/>
                    <a:pt x="624" y="0"/>
                    <a:pt x="531" y="6"/>
                  </a:cubicBezTo>
                  <a:cubicBezTo>
                    <a:pt x="481" y="9"/>
                    <a:pt x="437" y="35"/>
                    <a:pt x="409" y="72"/>
                  </a:cubicBezTo>
                  <a:cubicBezTo>
                    <a:pt x="378" y="41"/>
                    <a:pt x="335" y="24"/>
                    <a:pt x="289" y="27"/>
                  </a:cubicBezTo>
                  <a:cubicBezTo>
                    <a:pt x="206" y="32"/>
                    <a:pt x="143" y="102"/>
                    <a:pt x="144" y="184"/>
                  </a:cubicBezTo>
                  <a:cubicBezTo>
                    <a:pt x="141" y="183"/>
                    <a:pt x="137" y="184"/>
                    <a:pt x="134" y="184"/>
                  </a:cubicBezTo>
                  <a:cubicBezTo>
                    <a:pt x="57" y="189"/>
                    <a:pt x="0" y="255"/>
                    <a:pt x="5" y="331"/>
                  </a:cubicBezTo>
                  <a:cubicBezTo>
                    <a:pt x="9" y="388"/>
                    <a:pt x="46" y="435"/>
                    <a:pt x="97" y="452"/>
                  </a:cubicBezTo>
                  <a:cubicBezTo>
                    <a:pt x="93" y="468"/>
                    <a:pt x="91" y="485"/>
                    <a:pt x="92" y="502"/>
                  </a:cubicBezTo>
                  <a:cubicBezTo>
                    <a:pt x="97" y="596"/>
                    <a:pt x="177" y="668"/>
                    <a:pt x="271" y="663"/>
                  </a:cubicBezTo>
                  <a:cubicBezTo>
                    <a:pt x="300" y="662"/>
                    <a:pt x="327" y="653"/>
                    <a:pt x="350" y="639"/>
                  </a:cubicBezTo>
                  <a:cubicBezTo>
                    <a:pt x="358" y="643"/>
                    <a:pt x="363" y="646"/>
                    <a:pt x="363" y="646"/>
                  </a:cubicBezTo>
                  <a:cubicBezTo>
                    <a:pt x="385" y="659"/>
                    <a:pt x="411" y="665"/>
                    <a:pt x="439" y="664"/>
                  </a:cubicBezTo>
                  <a:cubicBezTo>
                    <a:pt x="488" y="660"/>
                    <a:pt x="529" y="631"/>
                    <a:pt x="550" y="589"/>
                  </a:cubicBezTo>
                  <a:cubicBezTo>
                    <a:pt x="574" y="602"/>
                    <a:pt x="601" y="608"/>
                    <a:pt x="630" y="606"/>
                  </a:cubicBezTo>
                  <a:cubicBezTo>
                    <a:pt x="713" y="601"/>
                    <a:pt x="775" y="530"/>
                    <a:pt x="770" y="447"/>
                  </a:cubicBezTo>
                  <a:cubicBezTo>
                    <a:pt x="769" y="444"/>
                    <a:pt x="769" y="440"/>
                    <a:pt x="768" y="437"/>
                  </a:cubicBezTo>
                  <a:cubicBezTo>
                    <a:pt x="823" y="415"/>
                    <a:pt x="860" y="360"/>
                    <a:pt x="856" y="298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iṧḻïḍê">
              <a:extLst>
                <a:ext uri="{FF2B5EF4-FFF2-40B4-BE49-F238E27FC236}">
                  <a16:creationId xmlns:a16="http://schemas.microsoft.com/office/drawing/2014/main" id="{A093AE6F-FC5B-4A0D-A42F-532C1EFCCDA1}"/>
                </a:ext>
              </a:extLst>
            </p:cNvPr>
            <p:cNvSpPr/>
            <p:nvPr/>
          </p:nvSpPr>
          <p:spPr bwMode="auto">
            <a:xfrm>
              <a:off x="6092769" y="3368341"/>
              <a:ext cx="192101" cy="190668"/>
            </a:xfrm>
            <a:custGeom>
              <a:avLst/>
              <a:gdLst>
                <a:gd name="T0" fmla="*/ 1 w 123"/>
                <a:gd name="T1" fmla="*/ 64 h 123"/>
                <a:gd name="T2" fmla="*/ 58 w 123"/>
                <a:gd name="T3" fmla="*/ 1 h 123"/>
                <a:gd name="T4" fmla="*/ 122 w 123"/>
                <a:gd name="T5" fmla="*/ 58 h 123"/>
                <a:gd name="T6" fmla="*/ 64 w 123"/>
                <a:gd name="T7" fmla="*/ 122 h 123"/>
                <a:gd name="T8" fmla="*/ 1 w 123"/>
                <a:gd name="T9" fmla="*/ 6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123">
                  <a:moveTo>
                    <a:pt x="1" y="64"/>
                  </a:moveTo>
                  <a:cubicBezTo>
                    <a:pt x="0" y="31"/>
                    <a:pt x="25" y="3"/>
                    <a:pt x="58" y="1"/>
                  </a:cubicBezTo>
                  <a:cubicBezTo>
                    <a:pt x="92" y="0"/>
                    <a:pt x="120" y="25"/>
                    <a:pt x="122" y="58"/>
                  </a:cubicBezTo>
                  <a:cubicBezTo>
                    <a:pt x="123" y="92"/>
                    <a:pt x="98" y="120"/>
                    <a:pt x="64" y="122"/>
                  </a:cubicBezTo>
                  <a:cubicBezTo>
                    <a:pt x="31" y="123"/>
                    <a:pt x="3" y="98"/>
                    <a:pt x="1" y="64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íşļîḍè">
              <a:extLst>
                <a:ext uri="{FF2B5EF4-FFF2-40B4-BE49-F238E27FC236}">
                  <a16:creationId xmlns:a16="http://schemas.microsoft.com/office/drawing/2014/main" id="{68460D94-DC84-4A7D-B92D-C2CFF4ED902E}"/>
                </a:ext>
              </a:extLst>
            </p:cNvPr>
            <p:cNvSpPr/>
            <p:nvPr/>
          </p:nvSpPr>
          <p:spPr bwMode="auto">
            <a:xfrm>
              <a:off x="6267666" y="3561876"/>
              <a:ext cx="134758" cy="133324"/>
            </a:xfrm>
            <a:custGeom>
              <a:avLst/>
              <a:gdLst>
                <a:gd name="T0" fmla="*/ 1 w 87"/>
                <a:gd name="T1" fmla="*/ 45 h 86"/>
                <a:gd name="T2" fmla="*/ 41 w 87"/>
                <a:gd name="T3" fmla="*/ 1 h 86"/>
                <a:gd name="T4" fmla="*/ 86 w 87"/>
                <a:gd name="T5" fmla="*/ 41 h 86"/>
                <a:gd name="T6" fmla="*/ 46 w 87"/>
                <a:gd name="T7" fmla="*/ 85 h 86"/>
                <a:gd name="T8" fmla="*/ 1 w 87"/>
                <a:gd name="T9" fmla="*/ 4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1" y="45"/>
                  </a:moveTo>
                  <a:cubicBezTo>
                    <a:pt x="0" y="22"/>
                    <a:pt x="18" y="2"/>
                    <a:pt x="41" y="1"/>
                  </a:cubicBezTo>
                  <a:cubicBezTo>
                    <a:pt x="65" y="0"/>
                    <a:pt x="84" y="18"/>
                    <a:pt x="86" y="41"/>
                  </a:cubicBezTo>
                  <a:cubicBezTo>
                    <a:pt x="87" y="64"/>
                    <a:pt x="69" y="84"/>
                    <a:pt x="46" y="85"/>
                  </a:cubicBezTo>
                  <a:cubicBezTo>
                    <a:pt x="22" y="86"/>
                    <a:pt x="2" y="69"/>
                    <a:pt x="1" y="45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íSļîďè">
              <a:extLst>
                <a:ext uri="{FF2B5EF4-FFF2-40B4-BE49-F238E27FC236}">
                  <a16:creationId xmlns:a16="http://schemas.microsoft.com/office/drawing/2014/main" id="{CB48EDAC-EA5F-4E39-A869-9990E21D3C02}"/>
                </a:ext>
              </a:extLst>
            </p:cNvPr>
            <p:cNvSpPr/>
            <p:nvPr/>
          </p:nvSpPr>
          <p:spPr bwMode="auto">
            <a:xfrm>
              <a:off x="6015355" y="2648678"/>
              <a:ext cx="266648" cy="344062"/>
            </a:xfrm>
            <a:custGeom>
              <a:avLst/>
              <a:gdLst>
                <a:gd name="T0" fmla="*/ 186 w 186"/>
                <a:gd name="T1" fmla="*/ 158 h 240"/>
                <a:gd name="T2" fmla="*/ 183 w 186"/>
                <a:gd name="T3" fmla="*/ 198 h 240"/>
                <a:gd name="T4" fmla="*/ 151 w 186"/>
                <a:gd name="T5" fmla="*/ 196 h 240"/>
                <a:gd name="T6" fmla="*/ 148 w 186"/>
                <a:gd name="T7" fmla="*/ 240 h 240"/>
                <a:gd name="T8" fmla="*/ 97 w 186"/>
                <a:gd name="T9" fmla="*/ 236 h 240"/>
                <a:gd name="T10" fmla="*/ 100 w 186"/>
                <a:gd name="T11" fmla="*/ 193 h 240"/>
                <a:gd name="T12" fmla="*/ 0 w 186"/>
                <a:gd name="T13" fmla="*/ 186 h 240"/>
                <a:gd name="T14" fmla="*/ 3 w 186"/>
                <a:gd name="T15" fmla="*/ 149 h 240"/>
                <a:gd name="T16" fmla="*/ 122 w 186"/>
                <a:gd name="T17" fmla="*/ 0 h 240"/>
                <a:gd name="T18" fmla="*/ 163 w 186"/>
                <a:gd name="T19" fmla="*/ 3 h 240"/>
                <a:gd name="T20" fmla="*/ 153 w 186"/>
                <a:gd name="T21" fmla="*/ 156 h 240"/>
                <a:gd name="T22" fmla="*/ 186 w 186"/>
                <a:gd name="T23" fmla="*/ 158 h 240"/>
                <a:gd name="T24" fmla="*/ 51 w 186"/>
                <a:gd name="T25" fmla="*/ 150 h 240"/>
                <a:gd name="T26" fmla="*/ 102 w 186"/>
                <a:gd name="T27" fmla="*/ 153 h 240"/>
                <a:gd name="T28" fmla="*/ 107 w 186"/>
                <a:gd name="T29" fmla="*/ 79 h 240"/>
                <a:gd name="T30" fmla="*/ 51 w 186"/>
                <a:gd name="T31" fmla="*/ 15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6" h="240">
                  <a:moveTo>
                    <a:pt x="186" y="158"/>
                  </a:moveTo>
                  <a:lnTo>
                    <a:pt x="183" y="198"/>
                  </a:lnTo>
                  <a:lnTo>
                    <a:pt x="151" y="196"/>
                  </a:lnTo>
                  <a:lnTo>
                    <a:pt x="148" y="240"/>
                  </a:lnTo>
                  <a:lnTo>
                    <a:pt x="97" y="236"/>
                  </a:lnTo>
                  <a:lnTo>
                    <a:pt x="100" y="193"/>
                  </a:lnTo>
                  <a:lnTo>
                    <a:pt x="0" y="186"/>
                  </a:lnTo>
                  <a:lnTo>
                    <a:pt x="3" y="149"/>
                  </a:lnTo>
                  <a:lnTo>
                    <a:pt x="122" y="0"/>
                  </a:lnTo>
                  <a:lnTo>
                    <a:pt x="163" y="3"/>
                  </a:lnTo>
                  <a:lnTo>
                    <a:pt x="153" y="156"/>
                  </a:lnTo>
                  <a:lnTo>
                    <a:pt x="186" y="158"/>
                  </a:lnTo>
                  <a:close/>
                  <a:moveTo>
                    <a:pt x="51" y="150"/>
                  </a:moveTo>
                  <a:lnTo>
                    <a:pt x="102" y="153"/>
                  </a:lnTo>
                  <a:lnTo>
                    <a:pt x="107" y="79"/>
                  </a:lnTo>
                  <a:lnTo>
                    <a:pt x="51" y="15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íṥlîḍè">
              <a:extLst>
                <a:ext uri="{FF2B5EF4-FFF2-40B4-BE49-F238E27FC236}">
                  <a16:creationId xmlns:a16="http://schemas.microsoft.com/office/drawing/2014/main" id="{0548E446-B907-48D9-BAA1-284960910D7F}"/>
                </a:ext>
              </a:extLst>
            </p:cNvPr>
            <p:cNvSpPr/>
            <p:nvPr/>
          </p:nvSpPr>
          <p:spPr bwMode="auto">
            <a:xfrm>
              <a:off x="6525713" y="2519656"/>
              <a:ext cx="275249" cy="344062"/>
            </a:xfrm>
            <a:custGeom>
              <a:avLst/>
              <a:gdLst>
                <a:gd name="T0" fmla="*/ 158 w 177"/>
                <a:gd name="T1" fmla="*/ 114 h 221"/>
                <a:gd name="T2" fmla="*/ 175 w 177"/>
                <a:gd name="T3" fmla="*/ 145 h 221"/>
                <a:gd name="T4" fmla="*/ 170 w 177"/>
                <a:gd name="T5" fmla="*/ 179 h 221"/>
                <a:gd name="T6" fmla="*/ 145 w 177"/>
                <a:gd name="T7" fmla="*/ 204 h 221"/>
                <a:gd name="T8" fmla="*/ 105 w 177"/>
                <a:gd name="T9" fmla="*/ 218 h 221"/>
                <a:gd name="T10" fmla="*/ 61 w 177"/>
                <a:gd name="T11" fmla="*/ 218 h 221"/>
                <a:gd name="T12" fmla="*/ 29 w 177"/>
                <a:gd name="T13" fmla="*/ 203 h 221"/>
                <a:gd name="T14" fmla="*/ 14 w 177"/>
                <a:gd name="T15" fmla="*/ 172 h 221"/>
                <a:gd name="T16" fmla="*/ 19 w 177"/>
                <a:gd name="T17" fmla="*/ 138 h 221"/>
                <a:gd name="T18" fmla="*/ 48 w 177"/>
                <a:gd name="T19" fmla="*/ 114 h 221"/>
                <a:gd name="T20" fmla="*/ 17 w 177"/>
                <a:gd name="T21" fmla="*/ 100 h 221"/>
                <a:gd name="T22" fmla="*/ 2 w 177"/>
                <a:gd name="T23" fmla="*/ 73 h 221"/>
                <a:gd name="T24" fmla="*/ 7 w 177"/>
                <a:gd name="T25" fmla="*/ 41 h 221"/>
                <a:gd name="T26" fmla="*/ 30 w 177"/>
                <a:gd name="T27" fmla="*/ 16 h 221"/>
                <a:gd name="T28" fmla="*/ 68 w 177"/>
                <a:gd name="T29" fmla="*/ 3 h 221"/>
                <a:gd name="T30" fmla="*/ 108 w 177"/>
                <a:gd name="T31" fmla="*/ 3 h 221"/>
                <a:gd name="T32" fmla="*/ 138 w 177"/>
                <a:gd name="T33" fmla="*/ 19 h 221"/>
                <a:gd name="T34" fmla="*/ 153 w 177"/>
                <a:gd name="T35" fmla="*/ 47 h 221"/>
                <a:gd name="T36" fmla="*/ 148 w 177"/>
                <a:gd name="T37" fmla="*/ 79 h 221"/>
                <a:gd name="T38" fmla="*/ 124 w 177"/>
                <a:gd name="T39" fmla="*/ 101 h 221"/>
                <a:gd name="T40" fmla="*/ 158 w 177"/>
                <a:gd name="T41" fmla="*/ 114 h 221"/>
                <a:gd name="T42" fmla="*/ 125 w 177"/>
                <a:gd name="T43" fmla="*/ 171 h 221"/>
                <a:gd name="T44" fmla="*/ 132 w 177"/>
                <a:gd name="T45" fmla="*/ 149 h 221"/>
                <a:gd name="T46" fmla="*/ 118 w 177"/>
                <a:gd name="T47" fmla="*/ 130 h 221"/>
                <a:gd name="T48" fmla="*/ 88 w 177"/>
                <a:gd name="T49" fmla="*/ 124 h 221"/>
                <a:gd name="T50" fmla="*/ 63 w 177"/>
                <a:gd name="T51" fmla="*/ 139 h 221"/>
                <a:gd name="T52" fmla="*/ 56 w 177"/>
                <a:gd name="T53" fmla="*/ 162 h 221"/>
                <a:gd name="T54" fmla="*/ 70 w 177"/>
                <a:gd name="T55" fmla="*/ 181 h 221"/>
                <a:gd name="T56" fmla="*/ 99 w 177"/>
                <a:gd name="T57" fmla="*/ 183 h 221"/>
                <a:gd name="T58" fmla="*/ 125 w 177"/>
                <a:gd name="T59" fmla="*/ 171 h 221"/>
                <a:gd name="T60" fmla="*/ 52 w 177"/>
                <a:gd name="T61" fmla="*/ 49 h 221"/>
                <a:gd name="T62" fmla="*/ 46 w 177"/>
                <a:gd name="T63" fmla="*/ 70 h 221"/>
                <a:gd name="T64" fmla="*/ 58 w 177"/>
                <a:gd name="T65" fmla="*/ 89 h 221"/>
                <a:gd name="T66" fmla="*/ 84 w 177"/>
                <a:gd name="T67" fmla="*/ 95 h 221"/>
                <a:gd name="T68" fmla="*/ 105 w 177"/>
                <a:gd name="T69" fmla="*/ 81 h 221"/>
                <a:gd name="T70" fmla="*/ 111 w 177"/>
                <a:gd name="T71" fmla="*/ 59 h 221"/>
                <a:gd name="T72" fmla="*/ 99 w 177"/>
                <a:gd name="T73" fmla="*/ 41 h 221"/>
                <a:gd name="T74" fmla="*/ 74 w 177"/>
                <a:gd name="T75" fmla="*/ 38 h 221"/>
                <a:gd name="T76" fmla="*/ 52 w 177"/>
                <a:gd name="T77" fmla="*/ 49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7" h="221">
                  <a:moveTo>
                    <a:pt x="158" y="114"/>
                  </a:moveTo>
                  <a:cubicBezTo>
                    <a:pt x="167" y="122"/>
                    <a:pt x="173" y="132"/>
                    <a:pt x="175" y="145"/>
                  </a:cubicBezTo>
                  <a:cubicBezTo>
                    <a:pt x="177" y="157"/>
                    <a:pt x="176" y="168"/>
                    <a:pt x="170" y="179"/>
                  </a:cubicBezTo>
                  <a:cubicBezTo>
                    <a:pt x="165" y="189"/>
                    <a:pt x="157" y="197"/>
                    <a:pt x="145" y="204"/>
                  </a:cubicBezTo>
                  <a:cubicBezTo>
                    <a:pt x="134" y="211"/>
                    <a:pt x="120" y="216"/>
                    <a:pt x="105" y="218"/>
                  </a:cubicBezTo>
                  <a:cubicBezTo>
                    <a:pt x="89" y="221"/>
                    <a:pt x="74" y="221"/>
                    <a:pt x="61" y="218"/>
                  </a:cubicBezTo>
                  <a:cubicBezTo>
                    <a:pt x="48" y="216"/>
                    <a:pt x="38" y="210"/>
                    <a:pt x="29" y="203"/>
                  </a:cubicBezTo>
                  <a:cubicBezTo>
                    <a:pt x="21" y="195"/>
                    <a:pt x="16" y="185"/>
                    <a:pt x="14" y="172"/>
                  </a:cubicBezTo>
                  <a:cubicBezTo>
                    <a:pt x="11" y="160"/>
                    <a:pt x="13" y="148"/>
                    <a:pt x="19" y="138"/>
                  </a:cubicBezTo>
                  <a:cubicBezTo>
                    <a:pt x="26" y="128"/>
                    <a:pt x="35" y="120"/>
                    <a:pt x="48" y="114"/>
                  </a:cubicBezTo>
                  <a:cubicBezTo>
                    <a:pt x="35" y="112"/>
                    <a:pt x="25" y="108"/>
                    <a:pt x="17" y="100"/>
                  </a:cubicBezTo>
                  <a:cubicBezTo>
                    <a:pt x="9" y="93"/>
                    <a:pt x="4" y="84"/>
                    <a:pt x="2" y="73"/>
                  </a:cubicBezTo>
                  <a:cubicBezTo>
                    <a:pt x="0" y="61"/>
                    <a:pt x="1" y="51"/>
                    <a:pt x="7" y="41"/>
                  </a:cubicBezTo>
                  <a:cubicBezTo>
                    <a:pt x="12" y="31"/>
                    <a:pt x="19" y="23"/>
                    <a:pt x="30" y="16"/>
                  </a:cubicBezTo>
                  <a:cubicBezTo>
                    <a:pt x="41" y="10"/>
                    <a:pt x="53" y="5"/>
                    <a:pt x="68" y="3"/>
                  </a:cubicBezTo>
                  <a:cubicBezTo>
                    <a:pt x="82" y="0"/>
                    <a:pt x="96" y="1"/>
                    <a:pt x="108" y="3"/>
                  </a:cubicBezTo>
                  <a:cubicBezTo>
                    <a:pt x="120" y="6"/>
                    <a:pt x="130" y="11"/>
                    <a:pt x="138" y="19"/>
                  </a:cubicBezTo>
                  <a:cubicBezTo>
                    <a:pt x="146" y="26"/>
                    <a:pt x="151" y="36"/>
                    <a:pt x="153" y="47"/>
                  </a:cubicBezTo>
                  <a:cubicBezTo>
                    <a:pt x="155" y="58"/>
                    <a:pt x="154" y="69"/>
                    <a:pt x="148" y="79"/>
                  </a:cubicBezTo>
                  <a:cubicBezTo>
                    <a:pt x="143" y="88"/>
                    <a:pt x="135" y="96"/>
                    <a:pt x="124" y="101"/>
                  </a:cubicBezTo>
                  <a:cubicBezTo>
                    <a:pt x="138" y="102"/>
                    <a:pt x="149" y="107"/>
                    <a:pt x="158" y="114"/>
                  </a:cubicBezTo>
                  <a:close/>
                  <a:moveTo>
                    <a:pt x="125" y="171"/>
                  </a:moveTo>
                  <a:cubicBezTo>
                    <a:pt x="131" y="165"/>
                    <a:pt x="133" y="158"/>
                    <a:pt x="132" y="149"/>
                  </a:cubicBezTo>
                  <a:cubicBezTo>
                    <a:pt x="130" y="140"/>
                    <a:pt x="126" y="134"/>
                    <a:pt x="118" y="130"/>
                  </a:cubicBezTo>
                  <a:cubicBezTo>
                    <a:pt x="110" y="126"/>
                    <a:pt x="100" y="124"/>
                    <a:pt x="88" y="124"/>
                  </a:cubicBezTo>
                  <a:cubicBezTo>
                    <a:pt x="77" y="128"/>
                    <a:pt x="69" y="133"/>
                    <a:pt x="63" y="139"/>
                  </a:cubicBezTo>
                  <a:cubicBezTo>
                    <a:pt x="57" y="146"/>
                    <a:pt x="54" y="153"/>
                    <a:pt x="56" y="162"/>
                  </a:cubicBezTo>
                  <a:cubicBezTo>
                    <a:pt x="57" y="171"/>
                    <a:pt x="62" y="177"/>
                    <a:pt x="70" y="181"/>
                  </a:cubicBezTo>
                  <a:cubicBezTo>
                    <a:pt x="77" y="184"/>
                    <a:pt x="87" y="185"/>
                    <a:pt x="99" y="183"/>
                  </a:cubicBezTo>
                  <a:cubicBezTo>
                    <a:pt x="110" y="181"/>
                    <a:pt x="119" y="177"/>
                    <a:pt x="125" y="171"/>
                  </a:cubicBezTo>
                  <a:close/>
                  <a:moveTo>
                    <a:pt x="52" y="49"/>
                  </a:moveTo>
                  <a:cubicBezTo>
                    <a:pt x="47" y="55"/>
                    <a:pt x="45" y="62"/>
                    <a:pt x="46" y="70"/>
                  </a:cubicBezTo>
                  <a:cubicBezTo>
                    <a:pt x="48" y="79"/>
                    <a:pt x="52" y="85"/>
                    <a:pt x="58" y="89"/>
                  </a:cubicBezTo>
                  <a:cubicBezTo>
                    <a:pt x="65" y="93"/>
                    <a:pt x="73" y="95"/>
                    <a:pt x="84" y="95"/>
                  </a:cubicBezTo>
                  <a:cubicBezTo>
                    <a:pt x="93" y="92"/>
                    <a:pt x="100" y="87"/>
                    <a:pt x="105" y="81"/>
                  </a:cubicBezTo>
                  <a:cubicBezTo>
                    <a:pt x="110" y="75"/>
                    <a:pt x="112" y="68"/>
                    <a:pt x="111" y="59"/>
                  </a:cubicBezTo>
                  <a:cubicBezTo>
                    <a:pt x="109" y="51"/>
                    <a:pt x="105" y="45"/>
                    <a:pt x="99" y="41"/>
                  </a:cubicBezTo>
                  <a:cubicBezTo>
                    <a:pt x="92" y="38"/>
                    <a:pt x="84" y="37"/>
                    <a:pt x="74" y="38"/>
                  </a:cubicBezTo>
                  <a:cubicBezTo>
                    <a:pt x="64" y="40"/>
                    <a:pt x="57" y="44"/>
                    <a:pt x="52" y="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iṥļidè">
              <a:extLst>
                <a:ext uri="{FF2B5EF4-FFF2-40B4-BE49-F238E27FC236}">
                  <a16:creationId xmlns:a16="http://schemas.microsoft.com/office/drawing/2014/main" id="{1E3E1A8F-C97A-4926-8B1F-A035B9C82521}"/>
                </a:ext>
              </a:extLst>
            </p:cNvPr>
            <p:cNvSpPr/>
            <p:nvPr/>
          </p:nvSpPr>
          <p:spPr bwMode="auto">
            <a:xfrm>
              <a:off x="6312108" y="2863717"/>
              <a:ext cx="289586" cy="335460"/>
            </a:xfrm>
            <a:custGeom>
              <a:avLst/>
              <a:gdLst>
                <a:gd name="T0" fmla="*/ 177 w 186"/>
                <a:gd name="T1" fmla="*/ 146 h 216"/>
                <a:gd name="T2" fmla="*/ 186 w 186"/>
                <a:gd name="T3" fmla="*/ 180 h 216"/>
                <a:gd name="T4" fmla="*/ 54 w 186"/>
                <a:gd name="T5" fmla="*/ 216 h 216"/>
                <a:gd name="T6" fmla="*/ 46 w 186"/>
                <a:gd name="T7" fmla="*/ 185 h 216"/>
                <a:gd name="T8" fmla="*/ 91 w 186"/>
                <a:gd name="T9" fmla="*/ 99 h 216"/>
                <a:gd name="T10" fmla="*/ 100 w 186"/>
                <a:gd name="T11" fmla="*/ 55 h 216"/>
                <a:gd name="T12" fmla="*/ 89 w 186"/>
                <a:gd name="T13" fmla="*/ 39 h 216"/>
                <a:gd name="T14" fmla="*/ 68 w 186"/>
                <a:gd name="T15" fmla="*/ 39 h 216"/>
                <a:gd name="T16" fmla="*/ 22 w 186"/>
                <a:gd name="T17" fmla="*/ 72 h 216"/>
                <a:gd name="T18" fmla="*/ 0 w 186"/>
                <a:gd name="T19" fmla="*/ 45 h 216"/>
                <a:gd name="T20" fmla="*/ 25 w 186"/>
                <a:gd name="T21" fmla="*/ 21 h 216"/>
                <a:gd name="T22" fmla="*/ 60 w 186"/>
                <a:gd name="T23" fmla="*/ 5 h 216"/>
                <a:gd name="T24" fmla="*/ 112 w 186"/>
                <a:gd name="T25" fmla="*/ 6 h 216"/>
                <a:gd name="T26" fmla="*/ 140 w 186"/>
                <a:gd name="T27" fmla="*/ 40 h 216"/>
                <a:gd name="T28" fmla="*/ 142 w 186"/>
                <a:gd name="T29" fmla="*/ 73 h 216"/>
                <a:gd name="T30" fmla="*/ 128 w 186"/>
                <a:gd name="T31" fmla="*/ 111 h 216"/>
                <a:gd name="T32" fmla="*/ 97 w 186"/>
                <a:gd name="T33" fmla="*/ 168 h 216"/>
                <a:gd name="T34" fmla="*/ 177 w 186"/>
                <a:gd name="T35" fmla="*/ 14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6" h="216">
                  <a:moveTo>
                    <a:pt x="177" y="146"/>
                  </a:moveTo>
                  <a:cubicBezTo>
                    <a:pt x="186" y="180"/>
                    <a:pt x="186" y="180"/>
                    <a:pt x="186" y="180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46" y="185"/>
                    <a:pt x="46" y="185"/>
                    <a:pt x="46" y="185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100" y="81"/>
                    <a:pt x="103" y="66"/>
                    <a:pt x="100" y="55"/>
                  </a:cubicBezTo>
                  <a:cubicBezTo>
                    <a:pt x="98" y="47"/>
                    <a:pt x="94" y="42"/>
                    <a:pt x="89" y="39"/>
                  </a:cubicBezTo>
                  <a:cubicBezTo>
                    <a:pt x="83" y="37"/>
                    <a:pt x="76" y="36"/>
                    <a:pt x="68" y="39"/>
                  </a:cubicBezTo>
                  <a:cubicBezTo>
                    <a:pt x="51" y="43"/>
                    <a:pt x="36" y="54"/>
                    <a:pt x="22" y="72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6" y="36"/>
                    <a:pt x="14" y="28"/>
                    <a:pt x="25" y="21"/>
                  </a:cubicBezTo>
                  <a:cubicBezTo>
                    <a:pt x="36" y="14"/>
                    <a:pt x="48" y="8"/>
                    <a:pt x="60" y="5"/>
                  </a:cubicBezTo>
                  <a:cubicBezTo>
                    <a:pt x="80" y="0"/>
                    <a:pt x="98" y="0"/>
                    <a:pt x="112" y="6"/>
                  </a:cubicBezTo>
                  <a:cubicBezTo>
                    <a:pt x="126" y="13"/>
                    <a:pt x="136" y="24"/>
                    <a:pt x="140" y="40"/>
                  </a:cubicBezTo>
                  <a:cubicBezTo>
                    <a:pt x="144" y="51"/>
                    <a:pt x="144" y="62"/>
                    <a:pt x="142" y="73"/>
                  </a:cubicBezTo>
                  <a:cubicBezTo>
                    <a:pt x="140" y="84"/>
                    <a:pt x="135" y="96"/>
                    <a:pt x="128" y="111"/>
                  </a:cubicBezTo>
                  <a:cubicBezTo>
                    <a:pt x="97" y="168"/>
                    <a:pt x="97" y="168"/>
                    <a:pt x="97" y="168"/>
                  </a:cubicBezTo>
                  <a:lnTo>
                    <a:pt x="177" y="14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iṡḻide">
              <a:extLst>
                <a:ext uri="{FF2B5EF4-FFF2-40B4-BE49-F238E27FC236}">
                  <a16:creationId xmlns:a16="http://schemas.microsoft.com/office/drawing/2014/main" id="{6C878404-A9E6-4DC6-B7D7-A934E9C42F58}"/>
                </a:ext>
              </a:extLst>
            </p:cNvPr>
            <p:cNvSpPr/>
            <p:nvPr/>
          </p:nvSpPr>
          <p:spPr bwMode="auto">
            <a:xfrm>
              <a:off x="10725919" y="2529764"/>
              <a:ext cx="392804" cy="682389"/>
            </a:xfrm>
            <a:custGeom>
              <a:avLst/>
              <a:gdLst>
                <a:gd name="T0" fmla="*/ 247 w 253"/>
                <a:gd name="T1" fmla="*/ 162 h 439"/>
                <a:gd name="T2" fmla="*/ 229 w 253"/>
                <a:gd name="T3" fmla="*/ 206 h 439"/>
                <a:gd name="T4" fmla="*/ 200 w 253"/>
                <a:gd name="T5" fmla="*/ 236 h 439"/>
                <a:gd name="T6" fmla="*/ 162 w 253"/>
                <a:gd name="T7" fmla="*/ 251 h 439"/>
                <a:gd name="T8" fmla="*/ 119 w 253"/>
                <a:gd name="T9" fmla="*/ 253 h 439"/>
                <a:gd name="T10" fmla="*/ 102 w 253"/>
                <a:gd name="T11" fmla="*/ 312 h 439"/>
                <a:gd name="T12" fmla="*/ 91 w 253"/>
                <a:gd name="T13" fmla="*/ 318 h 439"/>
                <a:gd name="T14" fmla="*/ 66 w 253"/>
                <a:gd name="T15" fmla="*/ 315 h 439"/>
                <a:gd name="T16" fmla="*/ 49 w 253"/>
                <a:gd name="T17" fmla="*/ 310 h 439"/>
                <a:gd name="T18" fmla="*/ 38 w 253"/>
                <a:gd name="T19" fmla="*/ 305 h 439"/>
                <a:gd name="T20" fmla="*/ 33 w 253"/>
                <a:gd name="T21" fmla="*/ 301 h 439"/>
                <a:gd name="T22" fmla="*/ 32 w 253"/>
                <a:gd name="T23" fmla="*/ 294 h 439"/>
                <a:gd name="T24" fmla="*/ 48 w 253"/>
                <a:gd name="T25" fmla="*/ 221 h 439"/>
                <a:gd name="T26" fmla="*/ 53 w 253"/>
                <a:gd name="T27" fmla="*/ 205 h 439"/>
                <a:gd name="T28" fmla="*/ 60 w 253"/>
                <a:gd name="T29" fmla="*/ 197 h 439"/>
                <a:gd name="T30" fmla="*/ 69 w 253"/>
                <a:gd name="T31" fmla="*/ 194 h 439"/>
                <a:gd name="T32" fmla="*/ 81 w 253"/>
                <a:gd name="T33" fmla="*/ 195 h 439"/>
                <a:gd name="T34" fmla="*/ 85 w 253"/>
                <a:gd name="T35" fmla="*/ 196 h 439"/>
                <a:gd name="T36" fmla="*/ 115 w 253"/>
                <a:gd name="T37" fmla="*/ 198 h 439"/>
                <a:gd name="T38" fmla="*/ 138 w 253"/>
                <a:gd name="T39" fmla="*/ 189 h 439"/>
                <a:gd name="T40" fmla="*/ 154 w 253"/>
                <a:gd name="T41" fmla="*/ 172 h 439"/>
                <a:gd name="T42" fmla="*/ 164 w 253"/>
                <a:gd name="T43" fmla="*/ 148 h 439"/>
                <a:gd name="T44" fmla="*/ 167 w 253"/>
                <a:gd name="T45" fmla="*/ 120 h 439"/>
                <a:gd name="T46" fmla="*/ 159 w 253"/>
                <a:gd name="T47" fmla="*/ 95 h 439"/>
                <a:gd name="T48" fmla="*/ 142 w 253"/>
                <a:gd name="T49" fmla="*/ 76 h 439"/>
                <a:gd name="T50" fmla="*/ 113 w 253"/>
                <a:gd name="T51" fmla="*/ 64 h 439"/>
                <a:gd name="T52" fmla="*/ 84 w 253"/>
                <a:gd name="T53" fmla="*/ 60 h 439"/>
                <a:gd name="T54" fmla="*/ 62 w 253"/>
                <a:gd name="T55" fmla="*/ 62 h 439"/>
                <a:gd name="T56" fmla="*/ 46 w 253"/>
                <a:gd name="T57" fmla="*/ 65 h 439"/>
                <a:gd name="T58" fmla="*/ 37 w 253"/>
                <a:gd name="T59" fmla="*/ 66 h 439"/>
                <a:gd name="T60" fmla="*/ 33 w 253"/>
                <a:gd name="T61" fmla="*/ 63 h 439"/>
                <a:gd name="T62" fmla="*/ 31 w 253"/>
                <a:gd name="T63" fmla="*/ 58 h 439"/>
                <a:gd name="T64" fmla="*/ 32 w 253"/>
                <a:gd name="T65" fmla="*/ 47 h 439"/>
                <a:gd name="T66" fmla="*/ 35 w 253"/>
                <a:gd name="T67" fmla="*/ 29 h 439"/>
                <a:gd name="T68" fmla="*/ 40 w 253"/>
                <a:gd name="T69" fmla="*/ 14 h 439"/>
                <a:gd name="T70" fmla="*/ 46 w 253"/>
                <a:gd name="T71" fmla="*/ 7 h 439"/>
                <a:gd name="T72" fmla="*/ 60 w 253"/>
                <a:gd name="T73" fmla="*/ 2 h 439"/>
                <a:gd name="T74" fmla="*/ 82 w 253"/>
                <a:gd name="T75" fmla="*/ 0 h 439"/>
                <a:gd name="T76" fmla="*/ 110 w 253"/>
                <a:gd name="T77" fmla="*/ 1 h 439"/>
                <a:gd name="T78" fmla="*/ 142 w 253"/>
                <a:gd name="T79" fmla="*/ 6 h 439"/>
                <a:gd name="T80" fmla="*/ 201 w 253"/>
                <a:gd name="T81" fmla="*/ 32 h 439"/>
                <a:gd name="T82" fmla="*/ 237 w 253"/>
                <a:gd name="T83" fmla="*/ 69 h 439"/>
                <a:gd name="T84" fmla="*/ 251 w 253"/>
                <a:gd name="T85" fmla="*/ 114 h 439"/>
                <a:gd name="T86" fmla="*/ 247 w 253"/>
                <a:gd name="T87" fmla="*/ 162 h 439"/>
                <a:gd name="T88" fmla="*/ 90 w 253"/>
                <a:gd name="T89" fmla="*/ 402 h 439"/>
                <a:gd name="T90" fmla="*/ 83 w 253"/>
                <a:gd name="T91" fmla="*/ 423 h 439"/>
                <a:gd name="T92" fmla="*/ 72 w 253"/>
                <a:gd name="T93" fmla="*/ 435 h 439"/>
                <a:gd name="T94" fmla="*/ 57 w 253"/>
                <a:gd name="T95" fmla="*/ 439 h 439"/>
                <a:gd name="T96" fmla="*/ 36 w 253"/>
                <a:gd name="T97" fmla="*/ 436 h 439"/>
                <a:gd name="T98" fmla="*/ 15 w 253"/>
                <a:gd name="T99" fmla="*/ 429 h 439"/>
                <a:gd name="T100" fmla="*/ 4 w 253"/>
                <a:gd name="T101" fmla="*/ 418 h 439"/>
                <a:gd name="T102" fmla="*/ 0 w 253"/>
                <a:gd name="T103" fmla="*/ 402 h 439"/>
                <a:gd name="T104" fmla="*/ 3 w 253"/>
                <a:gd name="T105" fmla="*/ 381 h 439"/>
                <a:gd name="T106" fmla="*/ 11 w 253"/>
                <a:gd name="T107" fmla="*/ 359 h 439"/>
                <a:gd name="T108" fmla="*/ 21 w 253"/>
                <a:gd name="T109" fmla="*/ 347 h 439"/>
                <a:gd name="T110" fmla="*/ 37 w 253"/>
                <a:gd name="T111" fmla="*/ 343 h 439"/>
                <a:gd name="T112" fmla="*/ 58 w 253"/>
                <a:gd name="T113" fmla="*/ 346 h 439"/>
                <a:gd name="T114" fmla="*/ 79 w 253"/>
                <a:gd name="T115" fmla="*/ 353 h 439"/>
                <a:gd name="T116" fmla="*/ 90 w 253"/>
                <a:gd name="T117" fmla="*/ 364 h 439"/>
                <a:gd name="T118" fmla="*/ 94 w 253"/>
                <a:gd name="T119" fmla="*/ 380 h 439"/>
                <a:gd name="T120" fmla="*/ 90 w 253"/>
                <a:gd name="T121" fmla="*/ 402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3" h="439">
                  <a:moveTo>
                    <a:pt x="247" y="162"/>
                  </a:moveTo>
                  <a:cubicBezTo>
                    <a:pt x="243" y="179"/>
                    <a:pt x="237" y="193"/>
                    <a:pt x="229" y="206"/>
                  </a:cubicBezTo>
                  <a:cubicBezTo>
                    <a:pt x="221" y="218"/>
                    <a:pt x="211" y="228"/>
                    <a:pt x="200" y="236"/>
                  </a:cubicBezTo>
                  <a:cubicBezTo>
                    <a:pt x="188" y="243"/>
                    <a:pt x="176" y="248"/>
                    <a:pt x="162" y="251"/>
                  </a:cubicBezTo>
                  <a:cubicBezTo>
                    <a:pt x="149" y="254"/>
                    <a:pt x="134" y="255"/>
                    <a:pt x="119" y="253"/>
                  </a:cubicBezTo>
                  <a:cubicBezTo>
                    <a:pt x="102" y="312"/>
                    <a:pt x="102" y="312"/>
                    <a:pt x="102" y="312"/>
                  </a:cubicBezTo>
                  <a:cubicBezTo>
                    <a:pt x="100" y="315"/>
                    <a:pt x="97" y="317"/>
                    <a:pt x="91" y="318"/>
                  </a:cubicBezTo>
                  <a:cubicBezTo>
                    <a:pt x="85" y="318"/>
                    <a:pt x="76" y="317"/>
                    <a:pt x="66" y="315"/>
                  </a:cubicBezTo>
                  <a:cubicBezTo>
                    <a:pt x="59" y="313"/>
                    <a:pt x="53" y="311"/>
                    <a:pt x="49" y="310"/>
                  </a:cubicBezTo>
                  <a:cubicBezTo>
                    <a:pt x="44" y="308"/>
                    <a:pt x="41" y="307"/>
                    <a:pt x="38" y="305"/>
                  </a:cubicBezTo>
                  <a:cubicBezTo>
                    <a:pt x="36" y="304"/>
                    <a:pt x="34" y="302"/>
                    <a:pt x="33" y="301"/>
                  </a:cubicBezTo>
                  <a:cubicBezTo>
                    <a:pt x="32" y="299"/>
                    <a:pt x="32" y="297"/>
                    <a:pt x="32" y="294"/>
                  </a:cubicBezTo>
                  <a:cubicBezTo>
                    <a:pt x="48" y="221"/>
                    <a:pt x="48" y="221"/>
                    <a:pt x="48" y="221"/>
                  </a:cubicBezTo>
                  <a:cubicBezTo>
                    <a:pt x="49" y="215"/>
                    <a:pt x="51" y="209"/>
                    <a:pt x="53" y="205"/>
                  </a:cubicBezTo>
                  <a:cubicBezTo>
                    <a:pt x="55" y="202"/>
                    <a:pt x="57" y="199"/>
                    <a:pt x="60" y="197"/>
                  </a:cubicBezTo>
                  <a:cubicBezTo>
                    <a:pt x="63" y="195"/>
                    <a:pt x="66" y="194"/>
                    <a:pt x="69" y="194"/>
                  </a:cubicBezTo>
                  <a:cubicBezTo>
                    <a:pt x="73" y="194"/>
                    <a:pt x="77" y="194"/>
                    <a:pt x="81" y="195"/>
                  </a:cubicBezTo>
                  <a:cubicBezTo>
                    <a:pt x="85" y="196"/>
                    <a:pt x="85" y="196"/>
                    <a:pt x="85" y="196"/>
                  </a:cubicBezTo>
                  <a:cubicBezTo>
                    <a:pt x="96" y="199"/>
                    <a:pt x="106" y="200"/>
                    <a:pt x="115" y="198"/>
                  </a:cubicBezTo>
                  <a:cubicBezTo>
                    <a:pt x="124" y="197"/>
                    <a:pt x="131" y="194"/>
                    <a:pt x="138" y="189"/>
                  </a:cubicBezTo>
                  <a:cubicBezTo>
                    <a:pt x="144" y="185"/>
                    <a:pt x="150" y="179"/>
                    <a:pt x="154" y="172"/>
                  </a:cubicBezTo>
                  <a:cubicBezTo>
                    <a:pt x="159" y="165"/>
                    <a:pt x="162" y="157"/>
                    <a:pt x="164" y="148"/>
                  </a:cubicBezTo>
                  <a:cubicBezTo>
                    <a:pt x="166" y="138"/>
                    <a:pt x="167" y="129"/>
                    <a:pt x="167" y="120"/>
                  </a:cubicBezTo>
                  <a:cubicBezTo>
                    <a:pt x="166" y="111"/>
                    <a:pt x="164" y="103"/>
                    <a:pt x="159" y="95"/>
                  </a:cubicBezTo>
                  <a:cubicBezTo>
                    <a:pt x="155" y="88"/>
                    <a:pt x="149" y="82"/>
                    <a:pt x="142" y="76"/>
                  </a:cubicBezTo>
                  <a:cubicBezTo>
                    <a:pt x="134" y="71"/>
                    <a:pt x="124" y="67"/>
                    <a:pt x="113" y="64"/>
                  </a:cubicBezTo>
                  <a:cubicBezTo>
                    <a:pt x="102" y="61"/>
                    <a:pt x="93" y="60"/>
                    <a:pt x="84" y="60"/>
                  </a:cubicBezTo>
                  <a:cubicBezTo>
                    <a:pt x="76" y="60"/>
                    <a:pt x="68" y="61"/>
                    <a:pt x="62" y="62"/>
                  </a:cubicBezTo>
                  <a:cubicBezTo>
                    <a:pt x="56" y="63"/>
                    <a:pt x="50" y="64"/>
                    <a:pt x="46" y="65"/>
                  </a:cubicBezTo>
                  <a:cubicBezTo>
                    <a:pt x="42" y="66"/>
                    <a:pt x="39" y="66"/>
                    <a:pt x="37" y="66"/>
                  </a:cubicBezTo>
                  <a:cubicBezTo>
                    <a:pt x="35" y="65"/>
                    <a:pt x="34" y="65"/>
                    <a:pt x="33" y="63"/>
                  </a:cubicBezTo>
                  <a:cubicBezTo>
                    <a:pt x="32" y="62"/>
                    <a:pt x="31" y="60"/>
                    <a:pt x="31" y="58"/>
                  </a:cubicBezTo>
                  <a:cubicBezTo>
                    <a:pt x="31" y="55"/>
                    <a:pt x="31" y="51"/>
                    <a:pt x="32" y="47"/>
                  </a:cubicBezTo>
                  <a:cubicBezTo>
                    <a:pt x="32" y="42"/>
                    <a:pt x="34" y="36"/>
                    <a:pt x="35" y="29"/>
                  </a:cubicBezTo>
                  <a:cubicBezTo>
                    <a:pt x="37" y="22"/>
                    <a:pt x="39" y="17"/>
                    <a:pt x="40" y="14"/>
                  </a:cubicBezTo>
                  <a:cubicBezTo>
                    <a:pt x="42" y="11"/>
                    <a:pt x="44" y="8"/>
                    <a:pt x="46" y="7"/>
                  </a:cubicBezTo>
                  <a:cubicBezTo>
                    <a:pt x="49" y="5"/>
                    <a:pt x="53" y="4"/>
                    <a:pt x="60" y="2"/>
                  </a:cubicBezTo>
                  <a:cubicBezTo>
                    <a:pt x="66" y="1"/>
                    <a:pt x="74" y="0"/>
                    <a:pt x="82" y="0"/>
                  </a:cubicBezTo>
                  <a:cubicBezTo>
                    <a:pt x="91" y="0"/>
                    <a:pt x="100" y="0"/>
                    <a:pt x="110" y="1"/>
                  </a:cubicBezTo>
                  <a:cubicBezTo>
                    <a:pt x="121" y="2"/>
                    <a:pt x="131" y="3"/>
                    <a:pt x="142" y="6"/>
                  </a:cubicBezTo>
                  <a:cubicBezTo>
                    <a:pt x="166" y="12"/>
                    <a:pt x="186" y="21"/>
                    <a:pt x="201" y="32"/>
                  </a:cubicBezTo>
                  <a:cubicBezTo>
                    <a:pt x="217" y="43"/>
                    <a:pt x="229" y="55"/>
                    <a:pt x="237" y="69"/>
                  </a:cubicBezTo>
                  <a:cubicBezTo>
                    <a:pt x="245" y="83"/>
                    <a:pt x="250" y="98"/>
                    <a:pt x="251" y="114"/>
                  </a:cubicBezTo>
                  <a:cubicBezTo>
                    <a:pt x="253" y="130"/>
                    <a:pt x="251" y="146"/>
                    <a:pt x="247" y="162"/>
                  </a:cubicBezTo>
                  <a:close/>
                  <a:moveTo>
                    <a:pt x="90" y="402"/>
                  </a:moveTo>
                  <a:cubicBezTo>
                    <a:pt x="88" y="411"/>
                    <a:pt x="86" y="418"/>
                    <a:pt x="83" y="423"/>
                  </a:cubicBezTo>
                  <a:cubicBezTo>
                    <a:pt x="80" y="429"/>
                    <a:pt x="77" y="433"/>
                    <a:pt x="72" y="435"/>
                  </a:cubicBezTo>
                  <a:cubicBezTo>
                    <a:pt x="68" y="438"/>
                    <a:pt x="63" y="439"/>
                    <a:pt x="57" y="439"/>
                  </a:cubicBezTo>
                  <a:cubicBezTo>
                    <a:pt x="51" y="439"/>
                    <a:pt x="44" y="438"/>
                    <a:pt x="36" y="436"/>
                  </a:cubicBezTo>
                  <a:cubicBezTo>
                    <a:pt x="27" y="434"/>
                    <a:pt x="20" y="432"/>
                    <a:pt x="15" y="429"/>
                  </a:cubicBezTo>
                  <a:cubicBezTo>
                    <a:pt x="10" y="426"/>
                    <a:pt x="6" y="422"/>
                    <a:pt x="4" y="418"/>
                  </a:cubicBezTo>
                  <a:cubicBezTo>
                    <a:pt x="1" y="414"/>
                    <a:pt x="0" y="408"/>
                    <a:pt x="0" y="402"/>
                  </a:cubicBezTo>
                  <a:cubicBezTo>
                    <a:pt x="0" y="396"/>
                    <a:pt x="1" y="389"/>
                    <a:pt x="3" y="381"/>
                  </a:cubicBezTo>
                  <a:cubicBezTo>
                    <a:pt x="5" y="372"/>
                    <a:pt x="8" y="365"/>
                    <a:pt x="11" y="359"/>
                  </a:cubicBezTo>
                  <a:cubicBezTo>
                    <a:pt x="13" y="354"/>
                    <a:pt x="17" y="350"/>
                    <a:pt x="21" y="347"/>
                  </a:cubicBezTo>
                  <a:cubicBezTo>
                    <a:pt x="26" y="344"/>
                    <a:pt x="31" y="343"/>
                    <a:pt x="37" y="343"/>
                  </a:cubicBezTo>
                  <a:cubicBezTo>
                    <a:pt x="43" y="343"/>
                    <a:pt x="50" y="344"/>
                    <a:pt x="58" y="346"/>
                  </a:cubicBezTo>
                  <a:cubicBezTo>
                    <a:pt x="67" y="348"/>
                    <a:pt x="73" y="350"/>
                    <a:pt x="79" y="353"/>
                  </a:cubicBezTo>
                  <a:cubicBezTo>
                    <a:pt x="84" y="356"/>
                    <a:pt x="88" y="360"/>
                    <a:pt x="90" y="364"/>
                  </a:cubicBezTo>
                  <a:cubicBezTo>
                    <a:pt x="93" y="369"/>
                    <a:pt x="94" y="374"/>
                    <a:pt x="94" y="380"/>
                  </a:cubicBezTo>
                  <a:cubicBezTo>
                    <a:pt x="94" y="386"/>
                    <a:pt x="92" y="394"/>
                    <a:pt x="90" y="402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10/9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islide-powerpoint.com/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islide-powerpoint.com/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islide-powerpoint.com/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islide-powerpoint.com/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ľíd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S1ïdé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47" imgH="348" progId="TCLayout.ActiveDocument.1">
                  <p:embed/>
                </p:oleObj>
              </mc:Choice>
              <mc:Fallback>
                <p:oleObj name="think-cell Slide" r:id="rId2" imgW="347" imgH="348" progId="TCLayout.ActiveDocument.1">
                  <p:embed/>
                  <p:pic>
                    <p:nvPicPr>
                      <p:cNvPr id="3" name="îśḻiḓ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ṩ1íḋé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šľíďè"/>
          <p:cNvSpPr>
            <a:spLocks noGrp="1"/>
          </p:cNvSpPr>
          <p:nvPr>
            <p:ph type="subTitle" idx="1"/>
          </p:nvPr>
        </p:nvSpPr>
        <p:spPr>
          <a:xfrm>
            <a:off x="995075" y="770600"/>
            <a:ext cx="6585595" cy="558799"/>
          </a:xfrm>
        </p:spPr>
        <p:txBody>
          <a:bodyPr>
            <a:normAutofit/>
          </a:bodyPr>
          <a:lstStyle/>
          <a:p>
            <a:r>
              <a:rPr lang="en-US" altLang="zh-CN" spc="1800" dirty="0">
                <a:solidFill>
                  <a:schemeClr val="bg1"/>
                </a:solidFill>
              </a:rPr>
              <a:t>For all the teachers</a:t>
            </a:r>
          </a:p>
        </p:txBody>
      </p:sp>
      <p:sp>
        <p:nvSpPr>
          <p:cNvPr id="4" name="iṣļídê"/>
          <p:cNvSpPr>
            <a:spLocks noGrp="1"/>
          </p:cNvSpPr>
          <p:nvPr>
            <p:ph type="ctrTitle"/>
          </p:nvPr>
        </p:nvSpPr>
        <p:spPr>
          <a:xfrm>
            <a:off x="1251930" y="1401409"/>
            <a:ext cx="5889438" cy="1151617"/>
          </a:xfrm>
        </p:spPr>
        <p:txBody>
          <a:bodyPr>
            <a:noAutofit/>
          </a:bodyPr>
          <a:lstStyle/>
          <a:p>
            <a:r>
              <a:rPr lang="en-US" altLang="zh-CN" sz="7200" dirty="0">
                <a:solidFill>
                  <a:schemeClr val="accent1"/>
                </a:solidFill>
              </a:rPr>
              <a:t>CELEBRATE</a:t>
            </a:r>
            <a:endParaRPr lang="zh-CN" altLang="en-US" sz="7200" dirty="0">
              <a:solidFill>
                <a:schemeClr val="accent1"/>
              </a:solidFill>
            </a:endParaRPr>
          </a:p>
        </p:txBody>
      </p:sp>
      <p:sp>
        <p:nvSpPr>
          <p:cNvPr id="7" name="ïṡḻïḓé"/>
          <p:cNvSpPr>
            <a:spLocks noGrp="1"/>
          </p:cNvSpPr>
          <p:nvPr>
            <p:ph type="body" sz="quarter" idx="11"/>
          </p:nvPr>
        </p:nvSpPr>
        <p:spPr>
          <a:xfrm>
            <a:off x="1251930" y="2683508"/>
            <a:ext cx="5421787" cy="835821"/>
          </a:xfrm>
        </p:spPr>
        <p:txBody>
          <a:bodyPr/>
          <a:lstStyle/>
          <a:p>
            <a:r>
              <a:rPr lang="en-US" altLang="zh-CN" sz="4000" b="1" dirty="0">
                <a:solidFill>
                  <a:schemeClr val="accent1"/>
                </a:solidFill>
              </a:rPr>
              <a:t>TEACHER’S </a:t>
            </a:r>
            <a:r>
              <a:rPr lang="en-US" altLang="zh-CN" sz="4000" b="1" dirty="0">
                <a:solidFill>
                  <a:srgbClr val="FFC000"/>
                </a:solidFill>
              </a:rPr>
              <a:t>DAY</a:t>
            </a:r>
            <a:endParaRPr lang="en-US" altLang="en-US" sz="4000" b="1" dirty="0">
              <a:solidFill>
                <a:srgbClr val="FFC000"/>
              </a:solidFill>
            </a:endParaRPr>
          </a:p>
        </p:txBody>
      </p:sp>
      <p:sp>
        <p:nvSpPr>
          <p:cNvPr id="6" name="îŝḻíde"/>
          <p:cNvSpPr>
            <a:spLocks noGrp="1"/>
          </p:cNvSpPr>
          <p:nvPr>
            <p:ph type="body" sz="quarter" idx="10"/>
          </p:nvPr>
        </p:nvSpPr>
        <p:spPr>
          <a:xfrm>
            <a:off x="3703342" y="5206856"/>
            <a:ext cx="3159573" cy="296271"/>
          </a:xfrm>
        </p:spPr>
        <p:txBody>
          <a:bodyPr/>
          <a:lstStyle/>
          <a:p>
            <a:r>
              <a:rPr lang="en-GB" altLang="zh-CN" sz="1600" b="1" spc="600" dirty="0">
                <a:solidFill>
                  <a:schemeClr val="accent1"/>
                </a:solidFill>
              </a:rPr>
              <a:t>October, 5</a:t>
            </a:r>
            <a:r>
              <a:rPr lang="en-GB" altLang="zh-CN" sz="1600" b="1" spc="600" baseline="30000" dirty="0">
                <a:solidFill>
                  <a:schemeClr val="accent1"/>
                </a:solidFill>
              </a:rPr>
              <a:t>th</a:t>
            </a:r>
            <a:r>
              <a:rPr lang="en-GB" altLang="zh-CN" sz="1600" b="1" spc="600" dirty="0">
                <a:solidFill>
                  <a:schemeClr val="accent1"/>
                </a:solidFill>
              </a:rPr>
              <a:t> 2021</a:t>
            </a:r>
            <a:endParaRPr lang="en-US" altLang="zh-CN" sz="1600" b="1" spc="600" dirty="0">
              <a:solidFill>
                <a:schemeClr val="accent1"/>
              </a:solidFill>
            </a:endParaRPr>
          </a:p>
        </p:txBody>
      </p:sp>
      <p:pic>
        <p:nvPicPr>
          <p:cNvPr id="160" name="ï$ļiďè">
            <a:extLst>
              <a:ext uri="{FF2B5EF4-FFF2-40B4-BE49-F238E27FC236}">
                <a16:creationId xmlns:a16="http://schemas.microsoft.com/office/drawing/2014/main" id="{B367AF55-57D6-426A-836A-BBA36201FA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07388" y="770600"/>
            <a:ext cx="2362200" cy="266700"/>
          </a:xfrm>
          <a:prstGeom prst="rect">
            <a:avLst/>
          </a:prstGeom>
        </p:spPr>
      </p:pic>
      <p:pic>
        <p:nvPicPr>
          <p:cNvPr id="161" name="í$ļïde">
            <a:extLst>
              <a:ext uri="{FF2B5EF4-FFF2-40B4-BE49-F238E27FC236}">
                <a16:creationId xmlns:a16="http://schemas.microsoft.com/office/drawing/2014/main" id="{E7DBB946-0EBA-48CF-AF48-3F7232E01E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51930" y="5836557"/>
            <a:ext cx="2362200" cy="266700"/>
          </a:xfrm>
          <a:prstGeom prst="rect">
            <a:avLst/>
          </a:prstGeom>
        </p:spPr>
      </p:pic>
      <p:sp>
        <p:nvSpPr>
          <p:cNvPr id="162" name="ïślîḑè">
            <a:extLst>
              <a:ext uri="{FF2B5EF4-FFF2-40B4-BE49-F238E27FC236}">
                <a16:creationId xmlns:a16="http://schemas.microsoft.com/office/drawing/2014/main" id="{5FBB2E9D-F3A5-491D-8527-F9B51BC1362F}"/>
              </a:ext>
            </a:extLst>
          </p:cNvPr>
          <p:cNvSpPr txBox="1">
            <a:spLocks/>
          </p:cNvSpPr>
          <p:nvPr/>
        </p:nvSpPr>
        <p:spPr>
          <a:xfrm>
            <a:off x="1346198" y="4024770"/>
            <a:ext cx="4474499" cy="27425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solidFill>
                  <a:schemeClr val="tx2"/>
                </a:solidFill>
              </a:rPr>
              <a:t>Think about all the teachers for one day!</a:t>
            </a:r>
            <a:endParaRPr lang="en-US" altLang="en-US" sz="1600" b="1" dirty="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26012D8-0FF7-46C5-B940-8E11BA041D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9721" y="5456591"/>
            <a:ext cx="1835055" cy="274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1iḋ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ïṣḷîḓé">
            <a:extLst>
              <a:ext uri="{FF2B5EF4-FFF2-40B4-BE49-F238E27FC236}">
                <a16:creationId xmlns:a16="http://schemas.microsoft.com/office/drawing/2014/main" id="{5E3511AF-CE7B-4F1B-B808-E74337754741}"/>
              </a:ext>
            </a:extLst>
          </p:cNvPr>
          <p:cNvGrpSpPr/>
          <p:nvPr/>
        </p:nvGrpSpPr>
        <p:grpSpPr>
          <a:xfrm>
            <a:off x="875979" y="1272259"/>
            <a:ext cx="10427339" cy="4195379"/>
            <a:chOff x="851487" y="2822685"/>
            <a:chExt cx="2746760" cy="2181650"/>
          </a:xfrm>
        </p:grpSpPr>
        <p:sp>
          <p:nvSpPr>
            <p:cNvPr id="31" name="îşḷiḑé">
              <a:extLst>
                <a:ext uri="{FF2B5EF4-FFF2-40B4-BE49-F238E27FC236}">
                  <a16:creationId xmlns:a16="http://schemas.microsoft.com/office/drawing/2014/main" id="{52178DDF-1067-4C93-8E01-6336A2566AB7}"/>
                </a:ext>
              </a:extLst>
            </p:cNvPr>
            <p:cNvSpPr/>
            <p:nvPr/>
          </p:nvSpPr>
          <p:spPr bwMode="auto">
            <a:xfrm>
              <a:off x="914565" y="2822685"/>
              <a:ext cx="2620604" cy="2085600"/>
            </a:xfrm>
            <a:prstGeom prst="rect">
              <a:avLst/>
            </a:prstGeom>
            <a:solidFill>
              <a:srgbClr val="5D66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ïsḷídê">
              <a:extLst>
                <a:ext uri="{FF2B5EF4-FFF2-40B4-BE49-F238E27FC236}">
                  <a16:creationId xmlns:a16="http://schemas.microsoft.com/office/drawing/2014/main" id="{1628A04D-01D5-4441-99D9-9B1BDF4F5274}"/>
                </a:ext>
              </a:extLst>
            </p:cNvPr>
            <p:cNvSpPr/>
            <p:nvPr/>
          </p:nvSpPr>
          <p:spPr bwMode="auto">
            <a:xfrm>
              <a:off x="851487" y="4889648"/>
              <a:ext cx="2746760" cy="114687"/>
            </a:xfrm>
            <a:prstGeom prst="rect">
              <a:avLst/>
            </a:prstGeom>
            <a:solidFill>
              <a:srgbClr val="3B33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4" name="işľîďé">
            <a:extLst>
              <a:ext uri="{FF2B5EF4-FFF2-40B4-BE49-F238E27FC236}">
                <a16:creationId xmlns:a16="http://schemas.microsoft.com/office/drawing/2014/main" id="{78CE0BBD-B52D-45FE-BA8C-B920422DEE1B}"/>
              </a:ext>
            </a:extLst>
          </p:cNvPr>
          <p:cNvGrpSpPr/>
          <p:nvPr/>
        </p:nvGrpSpPr>
        <p:grpSpPr>
          <a:xfrm>
            <a:off x="635443" y="3846379"/>
            <a:ext cx="1202783" cy="2414166"/>
            <a:chOff x="-2486778" y="3619665"/>
            <a:chExt cx="1202783" cy="2414166"/>
          </a:xfrm>
        </p:grpSpPr>
        <p:sp>
          <p:nvSpPr>
            <p:cNvPr id="33" name="ís1îḑê">
              <a:extLst>
                <a:ext uri="{FF2B5EF4-FFF2-40B4-BE49-F238E27FC236}">
                  <a16:creationId xmlns:a16="http://schemas.microsoft.com/office/drawing/2014/main" id="{375425BF-0B54-4FBC-9769-DDA5F769B783}"/>
                </a:ext>
              </a:extLst>
            </p:cNvPr>
            <p:cNvSpPr/>
            <p:nvPr/>
          </p:nvSpPr>
          <p:spPr bwMode="auto">
            <a:xfrm>
              <a:off x="-2231599" y="5887605"/>
              <a:ext cx="113254" cy="127590"/>
            </a:xfrm>
            <a:custGeom>
              <a:avLst/>
              <a:gdLst>
                <a:gd name="T0" fmla="*/ 3 w 79"/>
                <a:gd name="T1" fmla="*/ 27 h 89"/>
                <a:gd name="T2" fmla="*/ 0 w 79"/>
                <a:gd name="T3" fmla="*/ 55 h 89"/>
                <a:gd name="T4" fmla="*/ 50 w 79"/>
                <a:gd name="T5" fmla="*/ 89 h 89"/>
                <a:gd name="T6" fmla="*/ 79 w 79"/>
                <a:gd name="T7" fmla="*/ 65 h 89"/>
                <a:gd name="T8" fmla="*/ 55 w 79"/>
                <a:gd name="T9" fmla="*/ 35 h 89"/>
                <a:gd name="T10" fmla="*/ 5 w 79"/>
                <a:gd name="T11" fmla="*/ 0 h 89"/>
                <a:gd name="T12" fmla="*/ 3 w 79"/>
                <a:gd name="T13" fmla="*/ 2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89">
                  <a:moveTo>
                    <a:pt x="3" y="27"/>
                  </a:moveTo>
                  <a:lnTo>
                    <a:pt x="0" y="55"/>
                  </a:lnTo>
                  <a:lnTo>
                    <a:pt x="50" y="89"/>
                  </a:lnTo>
                  <a:lnTo>
                    <a:pt x="79" y="65"/>
                  </a:lnTo>
                  <a:lnTo>
                    <a:pt x="55" y="35"/>
                  </a:lnTo>
                  <a:lnTo>
                    <a:pt x="5" y="0"/>
                  </a:lnTo>
                  <a:lnTo>
                    <a:pt x="3" y="27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iṣḻíḋe">
              <a:extLst>
                <a:ext uri="{FF2B5EF4-FFF2-40B4-BE49-F238E27FC236}">
                  <a16:creationId xmlns:a16="http://schemas.microsoft.com/office/drawing/2014/main" id="{77210F49-D1AC-468B-B096-AC27B51AC9E7}"/>
                </a:ext>
              </a:extLst>
            </p:cNvPr>
            <p:cNvSpPr/>
            <p:nvPr/>
          </p:nvSpPr>
          <p:spPr bwMode="auto">
            <a:xfrm>
              <a:off x="-2237334" y="4712060"/>
              <a:ext cx="303921" cy="1227153"/>
            </a:xfrm>
            <a:custGeom>
              <a:avLst/>
              <a:gdLst>
                <a:gd name="T0" fmla="*/ 8 w 212"/>
                <a:gd name="T1" fmla="*/ 10 h 856"/>
                <a:gd name="T2" fmla="*/ 0 w 212"/>
                <a:gd name="T3" fmla="*/ 92 h 856"/>
                <a:gd name="T4" fmla="*/ 75 w 212"/>
                <a:gd name="T5" fmla="*/ 379 h 856"/>
                <a:gd name="T6" fmla="*/ 5 w 212"/>
                <a:gd name="T7" fmla="*/ 839 h 856"/>
                <a:gd name="T8" fmla="*/ 56 w 212"/>
                <a:gd name="T9" fmla="*/ 856 h 856"/>
                <a:gd name="T10" fmla="*/ 191 w 212"/>
                <a:gd name="T11" fmla="*/ 407 h 856"/>
                <a:gd name="T12" fmla="*/ 212 w 212"/>
                <a:gd name="T13" fmla="*/ 276 h 856"/>
                <a:gd name="T14" fmla="*/ 211 w 212"/>
                <a:gd name="T15" fmla="*/ 0 h 856"/>
                <a:gd name="T16" fmla="*/ 8 w 212"/>
                <a:gd name="T17" fmla="*/ 10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856">
                  <a:moveTo>
                    <a:pt x="8" y="10"/>
                  </a:moveTo>
                  <a:lnTo>
                    <a:pt x="0" y="92"/>
                  </a:lnTo>
                  <a:lnTo>
                    <a:pt x="75" y="379"/>
                  </a:lnTo>
                  <a:lnTo>
                    <a:pt x="5" y="839"/>
                  </a:lnTo>
                  <a:lnTo>
                    <a:pt x="56" y="856"/>
                  </a:lnTo>
                  <a:lnTo>
                    <a:pt x="191" y="407"/>
                  </a:lnTo>
                  <a:lnTo>
                    <a:pt x="212" y="276"/>
                  </a:lnTo>
                  <a:lnTo>
                    <a:pt x="211" y="0"/>
                  </a:lnTo>
                  <a:lnTo>
                    <a:pt x="8" y="1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îṧľïḋe">
              <a:extLst>
                <a:ext uri="{FF2B5EF4-FFF2-40B4-BE49-F238E27FC236}">
                  <a16:creationId xmlns:a16="http://schemas.microsoft.com/office/drawing/2014/main" id="{45F97F54-7B7C-4669-82E1-8936D9869511}"/>
                </a:ext>
              </a:extLst>
            </p:cNvPr>
            <p:cNvSpPr/>
            <p:nvPr/>
          </p:nvSpPr>
          <p:spPr bwMode="auto">
            <a:xfrm>
              <a:off x="-2026596" y="4757936"/>
              <a:ext cx="364132" cy="1204216"/>
            </a:xfrm>
            <a:custGeom>
              <a:avLst/>
              <a:gdLst>
                <a:gd name="T0" fmla="*/ 254 w 254"/>
                <a:gd name="T1" fmla="*/ 70 h 840"/>
                <a:gd name="T2" fmla="*/ 147 w 254"/>
                <a:gd name="T3" fmla="*/ 840 h 840"/>
                <a:gd name="T4" fmla="*/ 98 w 254"/>
                <a:gd name="T5" fmla="*/ 840 h 840"/>
                <a:gd name="T6" fmla="*/ 89 w 254"/>
                <a:gd name="T7" fmla="*/ 347 h 840"/>
                <a:gd name="T8" fmla="*/ 0 w 254"/>
                <a:gd name="T9" fmla="*/ 0 h 840"/>
                <a:gd name="T10" fmla="*/ 254 w 254"/>
                <a:gd name="T11" fmla="*/ 70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4" h="840">
                  <a:moveTo>
                    <a:pt x="254" y="70"/>
                  </a:moveTo>
                  <a:lnTo>
                    <a:pt x="147" y="840"/>
                  </a:lnTo>
                  <a:lnTo>
                    <a:pt x="98" y="840"/>
                  </a:lnTo>
                  <a:lnTo>
                    <a:pt x="89" y="347"/>
                  </a:lnTo>
                  <a:lnTo>
                    <a:pt x="0" y="0"/>
                  </a:lnTo>
                  <a:lnTo>
                    <a:pt x="254" y="70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íŝḷîďè">
              <a:extLst>
                <a:ext uri="{FF2B5EF4-FFF2-40B4-BE49-F238E27FC236}">
                  <a16:creationId xmlns:a16="http://schemas.microsoft.com/office/drawing/2014/main" id="{721217B2-71F5-463A-B281-519D320D77D9}"/>
                </a:ext>
              </a:extLst>
            </p:cNvPr>
            <p:cNvSpPr/>
            <p:nvPr/>
          </p:nvSpPr>
          <p:spPr bwMode="auto">
            <a:xfrm>
              <a:off x="-1886104" y="5954983"/>
              <a:ext cx="114687" cy="78848"/>
            </a:xfrm>
            <a:custGeom>
              <a:avLst/>
              <a:gdLst>
                <a:gd name="T0" fmla="*/ 53 w 80"/>
                <a:gd name="T1" fmla="*/ 0 h 55"/>
                <a:gd name="T2" fmla="*/ 80 w 80"/>
                <a:gd name="T3" fmla="*/ 27 h 55"/>
                <a:gd name="T4" fmla="*/ 53 w 80"/>
                <a:gd name="T5" fmla="*/ 55 h 55"/>
                <a:gd name="T6" fmla="*/ 0 w 80"/>
                <a:gd name="T7" fmla="*/ 27 h 55"/>
                <a:gd name="T8" fmla="*/ 0 w 80"/>
                <a:gd name="T9" fmla="*/ 0 h 55"/>
                <a:gd name="T10" fmla="*/ 53 w 80"/>
                <a:gd name="T1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55">
                  <a:moveTo>
                    <a:pt x="53" y="0"/>
                  </a:moveTo>
                  <a:lnTo>
                    <a:pt x="80" y="27"/>
                  </a:lnTo>
                  <a:lnTo>
                    <a:pt x="53" y="55"/>
                  </a:lnTo>
                  <a:lnTo>
                    <a:pt x="0" y="27"/>
                  </a:lnTo>
                  <a:lnTo>
                    <a:pt x="0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202B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îṥ1iďè">
              <a:extLst>
                <a:ext uri="{FF2B5EF4-FFF2-40B4-BE49-F238E27FC236}">
                  <a16:creationId xmlns:a16="http://schemas.microsoft.com/office/drawing/2014/main" id="{DCA150EE-A04C-44F8-A59E-A440CF7597A9}"/>
                </a:ext>
              </a:extLst>
            </p:cNvPr>
            <p:cNvSpPr/>
            <p:nvPr/>
          </p:nvSpPr>
          <p:spPr bwMode="auto">
            <a:xfrm>
              <a:off x="-2486778" y="3952257"/>
              <a:ext cx="963373" cy="1304567"/>
            </a:xfrm>
            <a:custGeom>
              <a:avLst/>
              <a:gdLst>
                <a:gd name="T0" fmla="*/ 417 w 619"/>
                <a:gd name="T1" fmla="*/ 29 h 840"/>
                <a:gd name="T2" fmla="*/ 249 w 619"/>
                <a:gd name="T3" fmla="*/ 17 h 840"/>
                <a:gd name="T4" fmla="*/ 199 w 619"/>
                <a:gd name="T5" fmla="*/ 314 h 840"/>
                <a:gd name="T6" fmla="*/ 126 w 619"/>
                <a:gd name="T7" fmla="*/ 565 h 840"/>
                <a:gd name="T8" fmla="*/ 20 w 619"/>
                <a:gd name="T9" fmla="*/ 745 h 840"/>
                <a:gd name="T10" fmla="*/ 2 w 619"/>
                <a:gd name="T11" fmla="*/ 776 h 840"/>
                <a:gd name="T12" fmla="*/ 16 w 619"/>
                <a:gd name="T13" fmla="*/ 792 h 840"/>
                <a:gd name="T14" fmla="*/ 228 w 619"/>
                <a:gd name="T15" fmla="*/ 839 h 840"/>
                <a:gd name="T16" fmla="*/ 395 w 619"/>
                <a:gd name="T17" fmla="*/ 839 h 840"/>
                <a:gd name="T18" fmla="*/ 610 w 619"/>
                <a:gd name="T19" fmla="*/ 788 h 840"/>
                <a:gd name="T20" fmla="*/ 619 w 619"/>
                <a:gd name="T21" fmla="*/ 777 h 840"/>
                <a:gd name="T22" fmla="*/ 614 w 619"/>
                <a:gd name="T23" fmla="*/ 766 h 840"/>
                <a:gd name="T24" fmla="*/ 567 w 619"/>
                <a:gd name="T25" fmla="*/ 538 h 840"/>
                <a:gd name="T26" fmla="*/ 529 w 619"/>
                <a:gd name="T27" fmla="*/ 302 h 840"/>
                <a:gd name="T28" fmla="*/ 481 w 619"/>
                <a:gd name="T29" fmla="*/ 156 h 840"/>
                <a:gd name="T30" fmla="*/ 420 w 619"/>
                <a:gd name="T31" fmla="*/ 32 h 840"/>
                <a:gd name="T32" fmla="*/ 417 w 619"/>
                <a:gd name="T33" fmla="*/ 29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9" h="840">
                  <a:moveTo>
                    <a:pt x="417" y="29"/>
                  </a:moveTo>
                  <a:cubicBezTo>
                    <a:pt x="381" y="0"/>
                    <a:pt x="295" y="17"/>
                    <a:pt x="249" y="17"/>
                  </a:cubicBezTo>
                  <a:cubicBezTo>
                    <a:pt x="240" y="117"/>
                    <a:pt x="221" y="216"/>
                    <a:pt x="199" y="314"/>
                  </a:cubicBezTo>
                  <a:cubicBezTo>
                    <a:pt x="180" y="398"/>
                    <a:pt x="143" y="481"/>
                    <a:pt x="126" y="565"/>
                  </a:cubicBezTo>
                  <a:cubicBezTo>
                    <a:pt x="112" y="640"/>
                    <a:pt x="80" y="694"/>
                    <a:pt x="20" y="745"/>
                  </a:cubicBezTo>
                  <a:cubicBezTo>
                    <a:pt x="10" y="753"/>
                    <a:pt x="0" y="764"/>
                    <a:pt x="2" y="776"/>
                  </a:cubicBezTo>
                  <a:cubicBezTo>
                    <a:pt x="4" y="783"/>
                    <a:pt x="10" y="788"/>
                    <a:pt x="16" y="792"/>
                  </a:cubicBezTo>
                  <a:cubicBezTo>
                    <a:pt x="77" y="834"/>
                    <a:pt x="155" y="838"/>
                    <a:pt x="228" y="839"/>
                  </a:cubicBezTo>
                  <a:cubicBezTo>
                    <a:pt x="284" y="840"/>
                    <a:pt x="339" y="840"/>
                    <a:pt x="395" y="839"/>
                  </a:cubicBezTo>
                  <a:cubicBezTo>
                    <a:pt x="468" y="838"/>
                    <a:pt x="548" y="829"/>
                    <a:pt x="610" y="788"/>
                  </a:cubicBezTo>
                  <a:cubicBezTo>
                    <a:pt x="614" y="785"/>
                    <a:pt x="618" y="781"/>
                    <a:pt x="619" y="777"/>
                  </a:cubicBezTo>
                  <a:cubicBezTo>
                    <a:pt x="619" y="773"/>
                    <a:pt x="616" y="769"/>
                    <a:pt x="614" y="766"/>
                  </a:cubicBezTo>
                  <a:cubicBezTo>
                    <a:pt x="571" y="706"/>
                    <a:pt x="576" y="607"/>
                    <a:pt x="567" y="538"/>
                  </a:cubicBezTo>
                  <a:cubicBezTo>
                    <a:pt x="558" y="459"/>
                    <a:pt x="548" y="380"/>
                    <a:pt x="529" y="302"/>
                  </a:cubicBezTo>
                  <a:cubicBezTo>
                    <a:pt x="517" y="252"/>
                    <a:pt x="501" y="203"/>
                    <a:pt x="481" y="156"/>
                  </a:cubicBezTo>
                  <a:cubicBezTo>
                    <a:pt x="466" y="119"/>
                    <a:pt x="448" y="60"/>
                    <a:pt x="420" y="32"/>
                  </a:cubicBezTo>
                  <a:cubicBezTo>
                    <a:pt x="419" y="31"/>
                    <a:pt x="418" y="30"/>
                    <a:pt x="417" y="29"/>
                  </a:cubicBez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ïsḷiḋé">
              <a:extLst>
                <a:ext uri="{FF2B5EF4-FFF2-40B4-BE49-F238E27FC236}">
                  <a16:creationId xmlns:a16="http://schemas.microsoft.com/office/drawing/2014/main" id="{09D37D11-C99A-422B-AC11-C6C35A028B70}"/>
                </a:ext>
              </a:extLst>
            </p:cNvPr>
            <p:cNvSpPr/>
            <p:nvPr/>
          </p:nvSpPr>
          <p:spPr bwMode="auto">
            <a:xfrm>
              <a:off x="-2006526" y="3709980"/>
              <a:ext cx="124723" cy="163429"/>
            </a:xfrm>
            <a:custGeom>
              <a:avLst/>
              <a:gdLst>
                <a:gd name="T0" fmla="*/ 2 w 80"/>
                <a:gd name="T1" fmla="*/ 49 h 105"/>
                <a:gd name="T2" fmla="*/ 33 w 80"/>
                <a:gd name="T3" fmla="*/ 0 h 105"/>
                <a:gd name="T4" fmla="*/ 74 w 80"/>
                <a:gd name="T5" fmla="*/ 45 h 105"/>
                <a:gd name="T6" fmla="*/ 61 w 80"/>
                <a:gd name="T7" fmla="*/ 105 h 105"/>
                <a:gd name="T8" fmla="*/ 0 w 80"/>
                <a:gd name="T9" fmla="*/ 49 h 105"/>
                <a:gd name="T10" fmla="*/ 2 w 80"/>
                <a:gd name="T11" fmla="*/ 4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105">
                  <a:moveTo>
                    <a:pt x="2" y="49"/>
                  </a:moveTo>
                  <a:cubicBezTo>
                    <a:pt x="5" y="29"/>
                    <a:pt x="17" y="11"/>
                    <a:pt x="33" y="0"/>
                  </a:cubicBezTo>
                  <a:cubicBezTo>
                    <a:pt x="53" y="7"/>
                    <a:pt x="69" y="25"/>
                    <a:pt x="74" y="45"/>
                  </a:cubicBezTo>
                  <a:cubicBezTo>
                    <a:pt x="80" y="66"/>
                    <a:pt x="75" y="89"/>
                    <a:pt x="61" y="105"/>
                  </a:cubicBezTo>
                  <a:cubicBezTo>
                    <a:pt x="54" y="77"/>
                    <a:pt x="29" y="53"/>
                    <a:pt x="0" y="49"/>
                  </a:cubicBezTo>
                  <a:lnTo>
                    <a:pt x="2" y="49"/>
                  </a:ln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íSľïdê">
              <a:extLst>
                <a:ext uri="{FF2B5EF4-FFF2-40B4-BE49-F238E27FC236}">
                  <a16:creationId xmlns:a16="http://schemas.microsoft.com/office/drawing/2014/main" id="{E8BFEA99-466F-4BD6-A7CE-DD70B02CDDDD}"/>
                </a:ext>
              </a:extLst>
            </p:cNvPr>
            <p:cNvSpPr/>
            <p:nvPr/>
          </p:nvSpPr>
          <p:spPr bwMode="auto">
            <a:xfrm>
              <a:off x="-2148451" y="3697079"/>
              <a:ext cx="260914" cy="361265"/>
            </a:xfrm>
            <a:custGeom>
              <a:avLst/>
              <a:gdLst>
                <a:gd name="T0" fmla="*/ 125 w 168"/>
                <a:gd name="T1" fmla="*/ 202 h 232"/>
                <a:gd name="T2" fmla="*/ 164 w 168"/>
                <a:gd name="T3" fmla="*/ 146 h 232"/>
                <a:gd name="T4" fmla="*/ 156 w 168"/>
                <a:gd name="T5" fmla="*/ 76 h 232"/>
                <a:gd name="T6" fmla="*/ 18 w 168"/>
                <a:gd name="T7" fmla="*/ 91 h 232"/>
                <a:gd name="T8" fmla="*/ 125 w 168"/>
                <a:gd name="T9" fmla="*/ 20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232">
                  <a:moveTo>
                    <a:pt x="125" y="202"/>
                  </a:moveTo>
                  <a:cubicBezTo>
                    <a:pt x="147" y="192"/>
                    <a:pt x="160" y="169"/>
                    <a:pt x="164" y="146"/>
                  </a:cubicBezTo>
                  <a:cubicBezTo>
                    <a:pt x="168" y="122"/>
                    <a:pt x="164" y="98"/>
                    <a:pt x="156" y="76"/>
                  </a:cubicBezTo>
                  <a:cubicBezTo>
                    <a:pt x="132" y="0"/>
                    <a:pt x="38" y="25"/>
                    <a:pt x="18" y="91"/>
                  </a:cubicBezTo>
                  <a:cubicBezTo>
                    <a:pt x="0" y="149"/>
                    <a:pt x="63" y="232"/>
                    <a:pt x="125" y="202"/>
                  </a:cubicBez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îṩḻîḓè">
              <a:extLst>
                <a:ext uri="{FF2B5EF4-FFF2-40B4-BE49-F238E27FC236}">
                  <a16:creationId xmlns:a16="http://schemas.microsoft.com/office/drawing/2014/main" id="{5E56C338-B1E4-4751-834B-DD8829A9D4FD}"/>
                </a:ext>
              </a:extLst>
            </p:cNvPr>
            <p:cNvSpPr/>
            <p:nvPr/>
          </p:nvSpPr>
          <p:spPr bwMode="auto">
            <a:xfrm>
              <a:off x="-2316181" y="3675574"/>
              <a:ext cx="457316" cy="1211384"/>
            </a:xfrm>
            <a:custGeom>
              <a:avLst/>
              <a:gdLst>
                <a:gd name="T0" fmla="*/ 206 w 294"/>
                <a:gd name="T1" fmla="*/ 743 h 780"/>
                <a:gd name="T2" fmla="*/ 222 w 294"/>
                <a:gd name="T3" fmla="*/ 695 h 780"/>
                <a:gd name="T4" fmla="*/ 258 w 294"/>
                <a:gd name="T5" fmla="*/ 674 h 780"/>
                <a:gd name="T6" fmla="*/ 294 w 294"/>
                <a:gd name="T7" fmla="*/ 611 h 780"/>
                <a:gd name="T8" fmla="*/ 274 w 294"/>
                <a:gd name="T9" fmla="*/ 538 h 780"/>
                <a:gd name="T10" fmla="*/ 197 w 294"/>
                <a:gd name="T11" fmla="*/ 280 h 780"/>
                <a:gd name="T12" fmla="*/ 206 w 294"/>
                <a:gd name="T13" fmla="*/ 186 h 780"/>
                <a:gd name="T14" fmla="*/ 218 w 294"/>
                <a:gd name="T15" fmla="*/ 102 h 780"/>
                <a:gd name="T16" fmla="*/ 236 w 294"/>
                <a:gd name="T17" fmla="*/ 50 h 780"/>
                <a:gd name="T18" fmla="*/ 222 w 294"/>
                <a:gd name="T19" fmla="*/ 18 h 780"/>
                <a:gd name="T20" fmla="*/ 174 w 294"/>
                <a:gd name="T21" fmla="*/ 2 h 780"/>
                <a:gd name="T22" fmla="*/ 57 w 294"/>
                <a:gd name="T23" fmla="*/ 116 h 780"/>
                <a:gd name="T24" fmla="*/ 72 w 294"/>
                <a:gd name="T25" fmla="*/ 280 h 780"/>
                <a:gd name="T26" fmla="*/ 42 w 294"/>
                <a:gd name="T27" fmla="*/ 533 h 780"/>
                <a:gd name="T28" fmla="*/ 4 w 294"/>
                <a:gd name="T29" fmla="*/ 627 h 780"/>
                <a:gd name="T30" fmla="*/ 47 w 294"/>
                <a:gd name="T31" fmla="*/ 712 h 780"/>
                <a:gd name="T32" fmla="*/ 85 w 294"/>
                <a:gd name="T33" fmla="*/ 724 h 780"/>
                <a:gd name="T34" fmla="*/ 91 w 294"/>
                <a:gd name="T35" fmla="*/ 757 h 780"/>
                <a:gd name="T36" fmla="*/ 138 w 294"/>
                <a:gd name="T37" fmla="*/ 753 h 780"/>
                <a:gd name="T38" fmla="*/ 206 w 294"/>
                <a:gd name="T39" fmla="*/ 743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4" h="780">
                  <a:moveTo>
                    <a:pt x="206" y="743"/>
                  </a:moveTo>
                  <a:cubicBezTo>
                    <a:pt x="220" y="732"/>
                    <a:pt x="218" y="712"/>
                    <a:pt x="222" y="695"/>
                  </a:cubicBezTo>
                  <a:cubicBezTo>
                    <a:pt x="225" y="678"/>
                    <a:pt x="246" y="661"/>
                    <a:pt x="258" y="674"/>
                  </a:cubicBezTo>
                  <a:cubicBezTo>
                    <a:pt x="281" y="665"/>
                    <a:pt x="294" y="637"/>
                    <a:pt x="294" y="611"/>
                  </a:cubicBezTo>
                  <a:cubicBezTo>
                    <a:pt x="294" y="586"/>
                    <a:pt x="283" y="561"/>
                    <a:pt x="274" y="538"/>
                  </a:cubicBezTo>
                  <a:cubicBezTo>
                    <a:pt x="238" y="453"/>
                    <a:pt x="197" y="373"/>
                    <a:pt x="197" y="280"/>
                  </a:cubicBezTo>
                  <a:cubicBezTo>
                    <a:pt x="197" y="248"/>
                    <a:pt x="201" y="217"/>
                    <a:pt x="206" y="186"/>
                  </a:cubicBezTo>
                  <a:cubicBezTo>
                    <a:pt x="210" y="158"/>
                    <a:pt x="213" y="130"/>
                    <a:pt x="218" y="102"/>
                  </a:cubicBezTo>
                  <a:cubicBezTo>
                    <a:pt x="221" y="84"/>
                    <a:pt x="234" y="68"/>
                    <a:pt x="236" y="50"/>
                  </a:cubicBezTo>
                  <a:cubicBezTo>
                    <a:pt x="237" y="38"/>
                    <a:pt x="230" y="26"/>
                    <a:pt x="222" y="18"/>
                  </a:cubicBezTo>
                  <a:cubicBezTo>
                    <a:pt x="208" y="5"/>
                    <a:pt x="193" y="0"/>
                    <a:pt x="174" y="2"/>
                  </a:cubicBezTo>
                  <a:cubicBezTo>
                    <a:pt x="110" y="8"/>
                    <a:pt x="67" y="52"/>
                    <a:pt x="57" y="116"/>
                  </a:cubicBezTo>
                  <a:cubicBezTo>
                    <a:pt x="48" y="171"/>
                    <a:pt x="62" y="226"/>
                    <a:pt x="72" y="280"/>
                  </a:cubicBezTo>
                  <a:cubicBezTo>
                    <a:pt x="87" y="362"/>
                    <a:pt x="82" y="459"/>
                    <a:pt x="42" y="533"/>
                  </a:cubicBezTo>
                  <a:cubicBezTo>
                    <a:pt x="26" y="563"/>
                    <a:pt x="8" y="593"/>
                    <a:pt x="4" y="627"/>
                  </a:cubicBezTo>
                  <a:cubicBezTo>
                    <a:pt x="0" y="661"/>
                    <a:pt x="15" y="700"/>
                    <a:pt x="47" y="712"/>
                  </a:cubicBezTo>
                  <a:cubicBezTo>
                    <a:pt x="60" y="717"/>
                    <a:pt x="74" y="717"/>
                    <a:pt x="85" y="724"/>
                  </a:cubicBezTo>
                  <a:cubicBezTo>
                    <a:pt x="97" y="731"/>
                    <a:pt x="100" y="746"/>
                    <a:pt x="91" y="757"/>
                  </a:cubicBezTo>
                  <a:cubicBezTo>
                    <a:pt x="108" y="780"/>
                    <a:pt x="121" y="760"/>
                    <a:pt x="138" y="753"/>
                  </a:cubicBezTo>
                  <a:cubicBezTo>
                    <a:pt x="159" y="745"/>
                    <a:pt x="188" y="756"/>
                    <a:pt x="206" y="743"/>
                  </a:cubicBezTo>
                  <a:close/>
                </a:path>
              </a:pathLst>
            </a:custGeom>
            <a:solidFill>
              <a:srgbClr val="2929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íśļíḋe">
              <a:extLst>
                <a:ext uri="{FF2B5EF4-FFF2-40B4-BE49-F238E27FC236}">
                  <a16:creationId xmlns:a16="http://schemas.microsoft.com/office/drawing/2014/main" id="{CC795D8C-BE3E-43AD-AD5D-082AA4D257F6}"/>
                </a:ext>
              </a:extLst>
            </p:cNvPr>
            <p:cNvSpPr/>
            <p:nvPr/>
          </p:nvSpPr>
          <p:spPr bwMode="auto">
            <a:xfrm>
              <a:off x="-1926245" y="3774492"/>
              <a:ext cx="594940" cy="392803"/>
            </a:xfrm>
            <a:custGeom>
              <a:avLst/>
              <a:gdLst>
                <a:gd name="T0" fmla="*/ 0 w 415"/>
                <a:gd name="T1" fmla="*/ 152 h 274"/>
                <a:gd name="T2" fmla="*/ 237 w 415"/>
                <a:gd name="T3" fmla="*/ 135 h 274"/>
                <a:gd name="T4" fmla="*/ 357 w 415"/>
                <a:gd name="T5" fmla="*/ 0 h 274"/>
                <a:gd name="T6" fmla="*/ 415 w 415"/>
                <a:gd name="T7" fmla="*/ 36 h 274"/>
                <a:gd name="T8" fmla="*/ 285 w 415"/>
                <a:gd name="T9" fmla="*/ 219 h 274"/>
                <a:gd name="T10" fmla="*/ 29 w 415"/>
                <a:gd name="T11" fmla="*/ 274 h 274"/>
                <a:gd name="T12" fmla="*/ 0 w 415"/>
                <a:gd name="T13" fmla="*/ 15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5" h="274">
                  <a:moveTo>
                    <a:pt x="0" y="152"/>
                  </a:moveTo>
                  <a:lnTo>
                    <a:pt x="237" y="135"/>
                  </a:lnTo>
                  <a:lnTo>
                    <a:pt x="357" y="0"/>
                  </a:lnTo>
                  <a:lnTo>
                    <a:pt x="415" y="36"/>
                  </a:lnTo>
                  <a:lnTo>
                    <a:pt x="285" y="219"/>
                  </a:lnTo>
                  <a:lnTo>
                    <a:pt x="29" y="27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8CAB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ïṧlïďê">
              <a:extLst>
                <a:ext uri="{FF2B5EF4-FFF2-40B4-BE49-F238E27FC236}">
                  <a16:creationId xmlns:a16="http://schemas.microsoft.com/office/drawing/2014/main" id="{803B3B80-4284-4403-98F8-931FD52C5A8A}"/>
                </a:ext>
              </a:extLst>
            </p:cNvPr>
            <p:cNvSpPr/>
            <p:nvPr/>
          </p:nvSpPr>
          <p:spPr bwMode="auto">
            <a:xfrm>
              <a:off x="-1394382" y="3709980"/>
              <a:ext cx="110387" cy="107519"/>
            </a:xfrm>
            <a:custGeom>
              <a:avLst/>
              <a:gdLst>
                <a:gd name="T0" fmla="*/ 0 w 77"/>
                <a:gd name="T1" fmla="*/ 54 h 75"/>
                <a:gd name="T2" fmla="*/ 12 w 77"/>
                <a:gd name="T3" fmla="*/ 12 h 75"/>
                <a:gd name="T4" fmla="*/ 27 w 77"/>
                <a:gd name="T5" fmla="*/ 12 h 75"/>
                <a:gd name="T6" fmla="*/ 32 w 77"/>
                <a:gd name="T7" fmla="*/ 0 h 75"/>
                <a:gd name="T8" fmla="*/ 55 w 77"/>
                <a:gd name="T9" fmla="*/ 0 h 75"/>
                <a:gd name="T10" fmla="*/ 77 w 77"/>
                <a:gd name="T11" fmla="*/ 31 h 75"/>
                <a:gd name="T12" fmla="*/ 35 w 77"/>
                <a:gd name="T13" fmla="*/ 75 h 75"/>
                <a:gd name="T14" fmla="*/ 0 w 77"/>
                <a:gd name="T15" fmla="*/ 5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75">
                  <a:moveTo>
                    <a:pt x="0" y="54"/>
                  </a:moveTo>
                  <a:lnTo>
                    <a:pt x="12" y="12"/>
                  </a:lnTo>
                  <a:lnTo>
                    <a:pt x="27" y="12"/>
                  </a:lnTo>
                  <a:lnTo>
                    <a:pt x="32" y="0"/>
                  </a:lnTo>
                  <a:lnTo>
                    <a:pt x="55" y="0"/>
                  </a:lnTo>
                  <a:lnTo>
                    <a:pt x="77" y="31"/>
                  </a:lnTo>
                  <a:lnTo>
                    <a:pt x="35" y="75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EAC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ïšļîḋe">
              <a:extLst>
                <a:ext uri="{FF2B5EF4-FFF2-40B4-BE49-F238E27FC236}">
                  <a16:creationId xmlns:a16="http://schemas.microsoft.com/office/drawing/2014/main" id="{1129FB9A-4375-4CC3-AECB-086C7F001B51}"/>
                </a:ext>
              </a:extLst>
            </p:cNvPr>
            <p:cNvSpPr/>
            <p:nvPr/>
          </p:nvSpPr>
          <p:spPr bwMode="auto">
            <a:xfrm>
              <a:off x="-1394382" y="3619665"/>
              <a:ext cx="55911" cy="107519"/>
            </a:xfrm>
            <a:custGeom>
              <a:avLst/>
              <a:gdLst>
                <a:gd name="T0" fmla="*/ 12 w 39"/>
                <a:gd name="T1" fmla="*/ 75 h 75"/>
                <a:gd name="T2" fmla="*/ 0 w 39"/>
                <a:gd name="T3" fmla="*/ 9 h 75"/>
                <a:gd name="T4" fmla="*/ 22 w 39"/>
                <a:gd name="T5" fmla="*/ 0 h 75"/>
                <a:gd name="T6" fmla="*/ 39 w 39"/>
                <a:gd name="T7" fmla="*/ 75 h 75"/>
                <a:gd name="T8" fmla="*/ 12 w 39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75">
                  <a:moveTo>
                    <a:pt x="12" y="75"/>
                  </a:moveTo>
                  <a:lnTo>
                    <a:pt x="0" y="9"/>
                  </a:lnTo>
                  <a:lnTo>
                    <a:pt x="22" y="0"/>
                  </a:lnTo>
                  <a:lnTo>
                    <a:pt x="39" y="75"/>
                  </a:lnTo>
                  <a:lnTo>
                    <a:pt x="12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11" name="íṩļïḍe">
            <a:extLst>
              <a:ext uri="{FF2B5EF4-FFF2-40B4-BE49-F238E27FC236}">
                <a16:creationId xmlns:a16="http://schemas.microsoft.com/office/drawing/2014/main" id="{7C7634E0-63A9-44B9-83A4-A362EEE451E7}"/>
              </a:ext>
            </a:extLst>
          </p:cNvPr>
          <p:cNvSpPr/>
          <p:nvPr/>
        </p:nvSpPr>
        <p:spPr bwMode="auto">
          <a:xfrm>
            <a:off x="1930802" y="1984570"/>
            <a:ext cx="1231094" cy="1231094"/>
          </a:xfrm>
          <a:custGeom>
            <a:avLst/>
            <a:gdLst>
              <a:gd name="T0" fmla="*/ 7569 w 16599"/>
              <a:gd name="T1" fmla="*/ 403 h 16599"/>
              <a:gd name="T2" fmla="*/ 9030 w 16599"/>
              <a:gd name="T3" fmla="*/ 403 h 16599"/>
              <a:gd name="T4" fmla="*/ 16195 w 16599"/>
              <a:gd name="T5" fmla="*/ 7569 h 16599"/>
              <a:gd name="T6" fmla="*/ 16195 w 16599"/>
              <a:gd name="T7" fmla="*/ 9030 h 16599"/>
              <a:gd name="T8" fmla="*/ 9030 w 16599"/>
              <a:gd name="T9" fmla="*/ 16195 h 16599"/>
              <a:gd name="T10" fmla="*/ 7569 w 16599"/>
              <a:gd name="T11" fmla="*/ 16195 h 16599"/>
              <a:gd name="T12" fmla="*/ 403 w 16599"/>
              <a:gd name="T13" fmla="*/ 9030 h 16599"/>
              <a:gd name="T14" fmla="*/ 403 w 16599"/>
              <a:gd name="T15" fmla="*/ 7569 h 16599"/>
              <a:gd name="T16" fmla="*/ 7569 w 16599"/>
              <a:gd name="T17" fmla="*/ 403 h 16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599" h="16599">
                <a:moveTo>
                  <a:pt x="7569" y="403"/>
                </a:moveTo>
                <a:cubicBezTo>
                  <a:pt x="7972" y="0"/>
                  <a:pt x="8627" y="0"/>
                  <a:pt x="9030" y="403"/>
                </a:cubicBezTo>
                <a:lnTo>
                  <a:pt x="16195" y="7569"/>
                </a:lnTo>
                <a:cubicBezTo>
                  <a:pt x="16599" y="7972"/>
                  <a:pt x="16599" y="8627"/>
                  <a:pt x="16195" y="9030"/>
                </a:cubicBezTo>
                <a:lnTo>
                  <a:pt x="9030" y="16195"/>
                </a:lnTo>
                <a:cubicBezTo>
                  <a:pt x="8627" y="16599"/>
                  <a:pt x="7972" y="16599"/>
                  <a:pt x="7569" y="16195"/>
                </a:cubicBezTo>
                <a:lnTo>
                  <a:pt x="403" y="9030"/>
                </a:lnTo>
                <a:cubicBezTo>
                  <a:pt x="0" y="8627"/>
                  <a:pt x="0" y="7972"/>
                  <a:pt x="403" y="7569"/>
                </a:cubicBezTo>
                <a:lnTo>
                  <a:pt x="7569" y="403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</a:rPr>
              <a:t>01</a:t>
            </a:r>
            <a:endParaRPr lang="zh-CN" altLang="en-US" sz="2800" dirty="0">
              <a:solidFill>
                <a:schemeClr val="bg1"/>
              </a:solidFill>
            </a:endParaRPr>
          </a:p>
        </p:txBody>
      </p:sp>
      <p:grpSp>
        <p:nvGrpSpPr>
          <p:cNvPr id="12" name="îṣļïḓè">
            <a:extLst>
              <a:ext uri="{FF2B5EF4-FFF2-40B4-BE49-F238E27FC236}">
                <a16:creationId xmlns:a16="http://schemas.microsoft.com/office/drawing/2014/main" id="{DC14BAF7-4285-4482-87C9-DBFCE46EF295}"/>
              </a:ext>
            </a:extLst>
          </p:cNvPr>
          <p:cNvGrpSpPr/>
          <p:nvPr/>
        </p:nvGrpSpPr>
        <p:grpSpPr>
          <a:xfrm>
            <a:off x="1607102" y="3501458"/>
            <a:ext cx="1878495" cy="2095185"/>
            <a:chOff x="1579080" y="4140515"/>
            <a:chExt cx="1878495" cy="2095185"/>
          </a:xfrm>
        </p:grpSpPr>
        <p:sp>
          <p:nvSpPr>
            <p:cNvPr id="13" name="ísḷîḓé">
              <a:extLst>
                <a:ext uri="{FF2B5EF4-FFF2-40B4-BE49-F238E27FC236}">
                  <a16:creationId xmlns:a16="http://schemas.microsoft.com/office/drawing/2014/main" id="{DBF9B6C5-EAE6-4DB8-A393-6615B5E13B85}"/>
                </a:ext>
              </a:extLst>
            </p:cNvPr>
            <p:cNvSpPr txBox="1"/>
            <p:nvPr/>
          </p:nvSpPr>
          <p:spPr>
            <a:xfrm>
              <a:off x="1579080" y="4140515"/>
              <a:ext cx="1878495" cy="5191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dirty="0">
                  <a:solidFill>
                    <a:schemeClr val="bg1"/>
                  </a:solidFill>
                </a:rPr>
                <a:t>Text</a:t>
              </a:r>
              <a:endParaRPr lang="id-ID" sz="2000" dirty="0">
                <a:solidFill>
                  <a:schemeClr val="bg1"/>
                </a:solidFill>
              </a:endParaRPr>
            </a:p>
          </p:txBody>
        </p:sp>
        <p:sp>
          <p:nvSpPr>
            <p:cNvPr id="14" name="îŝḻîḍè">
              <a:extLst>
                <a:ext uri="{FF2B5EF4-FFF2-40B4-BE49-F238E27FC236}">
                  <a16:creationId xmlns:a16="http://schemas.microsoft.com/office/drawing/2014/main" id="{991138AE-FC72-4E67-89A3-17ADBCAEA162}"/>
                </a:ext>
              </a:extLst>
            </p:cNvPr>
            <p:cNvSpPr/>
            <p:nvPr/>
          </p:nvSpPr>
          <p:spPr bwMode="auto">
            <a:xfrm>
              <a:off x="1579080" y="4659670"/>
              <a:ext cx="1878495" cy="15760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……</a:t>
              </a:r>
            </a:p>
          </p:txBody>
        </p:sp>
      </p:grpSp>
      <p:sp>
        <p:nvSpPr>
          <p:cNvPr id="15" name="íŝ1îďè">
            <a:extLst>
              <a:ext uri="{FF2B5EF4-FFF2-40B4-BE49-F238E27FC236}">
                <a16:creationId xmlns:a16="http://schemas.microsoft.com/office/drawing/2014/main" id="{3D80B8E6-9591-46AE-9203-EAB8D7881C9D}"/>
              </a:ext>
            </a:extLst>
          </p:cNvPr>
          <p:cNvSpPr/>
          <p:nvPr/>
        </p:nvSpPr>
        <p:spPr bwMode="auto">
          <a:xfrm>
            <a:off x="4293002" y="1984570"/>
            <a:ext cx="1231094" cy="1231094"/>
          </a:xfrm>
          <a:custGeom>
            <a:avLst/>
            <a:gdLst>
              <a:gd name="T0" fmla="*/ 7569 w 16599"/>
              <a:gd name="T1" fmla="*/ 403 h 16599"/>
              <a:gd name="T2" fmla="*/ 9030 w 16599"/>
              <a:gd name="T3" fmla="*/ 403 h 16599"/>
              <a:gd name="T4" fmla="*/ 16195 w 16599"/>
              <a:gd name="T5" fmla="*/ 7569 h 16599"/>
              <a:gd name="T6" fmla="*/ 16195 w 16599"/>
              <a:gd name="T7" fmla="*/ 9030 h 16599"/>
              <a:gd name="T8" fmla="*/ 9030 w 16599"/>
              <a:gd name="T9" fmla="*/ 16195 h 16599"/>
              <a:gd name="T10" fmla="*/ 7569 w 16599"/>
              <a:gd name="T11" fmla="*/ 16195 h 16599"/>
              <a:gd name="T12" fmla="*/ 403 w 16599"/>
              <a:gd name="T13" fmla="*/ 9030 h 16599"/>
              <a:gd name="T14" fmla="*/ 403 w 16599"/>
              <a:gd name="T15" fmla="*/ 7569 h 16599"/>
              <a:gd name="T16" fmla="*/ 7569 w 16599"/>
              <a:gd name="T17" fmla="*/ 403 h 16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599" h="16599">
                <a:moveTo>
                  <a:pt x="7569" y="403"/>
                </a:moveTo>
                <a:cubicBezTo>
                  <a:pt x="7972" y="0"/>
                  <a:pt x="8627" y="0"/>
                  <a:pt x="9030" y="403"/>
                </a:cubicBezTo>
                <a:lnTo>
                  <a:pt x="16195" y="7569"/>
                </a:lnTo>
                <a:cubicBezTo>
                  <a:pt x="16599" y="7972"/>
                  <a:pt x="16599" y="8627"/>
                  <a:pt x="16195" y="9030"/>
                </a:cubicBezTo>
                <a:lnTo>
                  <a:pt x="9030" y="16195"/>
                </a:lnTo>
                <a:cubicBezTo>
                  <a:pt x="8627" y="16599"/>
                  <a:pt x="7972" y="16599"/>
                  <a:pt x="7569" y="16195"/>
                </a:cubicBezTo>
                <a:lnTo>
                  <a:pt x="403" y="9030"/>
                </a:lnTo>
                <a:cubicBezTo>
                  <a:pt x="0" y="8627"/>
                  <a:pt x="0" y="7972"/>
                  <a:pt x="403" y="7569"/>
                </a:cubicBezTo>
                <a:lnTo>
                  <a:pt x="7569" y="403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</a:rPr>
              <a:t>02</a:t>
            </a:r>
            <a:endParaRPr lang="zh-CN" altLang="en-US" sz="2800" dirty="0">
              <a:solidFill>
                <a:schemeClr val="bg1"/>
              </a:solidFill>
            </a:endParaRPr>
          </a:p>
        </p:txBody>
      </p:sp>
      <p:grpSp>
        <p:nvGrpSpPr>
          <p:cNvPr id="16" name="ís1ïdè">
            <a:extLst>
              <a:ext uri="{FF2B5EF4-FFF2-40B4-BE49-F238E27FC236}">
                <a16:creationId xmlns:a16="http://schemas.microsoft.com/office/drawing/2014/main" id="{286BB908-D693-452D-B6E5-E3DFDD1A77D3}"/>
              </a:ext>
            </a:extLst>
          </p:cNvPr>
          <p:cNvGrpSpPr/>
          <p:nvPr/>
        </p:nvGrpSpPr>
        <p:grpSpPr>
          <a:xfrm>
            <a:off x="3969302" y="3501458"/>
            <a:ext cx="1878495" cy="2095185"/>
            <a:chOff x="1579080" y="4140515"/>
            <a:chExt cx="1878495" cy="2095185"/>
          </a:xfrm>
        </p:grpSpPr>
        <p:sp>
          <p:nvSpPr>
            <p:cNvPr id="17" name="ïŝḻíḑé">
              <a:extLst>
                <a:ext uri="{FF2B5EF4-FFF2-40B4-BE49-F238E27FC236}">
                  <a16:creationId xmlns:a16="http://schemas.microsoft.com/office/drawing/2014/main" id="{FB37FC20-1051-4756-ABE5-BC7B11988689}"/>
                </a:ext>
              </a:extLst>
            </p:cNvPr>
            <p:cNvSpPr txBox="1"/>
            <p:nvPr/>
          </p:nvSpPr>
          <p:spPr>
            <a:xfrm>
              <a:off x="1579080" y="4140515"/>
              <a:ext cx="1878495" cy="5191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dirty="0">
                  <a:solidFill>
                    <a:schemeClr val="bg1"/>
                  </a:solidFill>
                </a:rPr>
                <a:t>Text</a:t>
              </a:r>
              <a:endParaRPr lang="id-ID" sz="2000" dirty="0">
                <a:solidFill>
                  <a:schemeClr val="bg1"/>
                </a:solidFill>
              </a:endParaRPr>
            </a:p>
          </p:txBody>
        </p:sp>
        <p:sp>
          <p:nvSpPr>
            <p:cNvPr id="18" name="îş1ïḍê">
              <a:extLst>
                <a:ext uri="{FF2B5EF4-FFF2-40B4-BE49-F238E27FC236}">
                  <a16:creationId xmlns:a16="http://schemas.microsoft.com/office/drawing/2014/main" id="{B1D45B11-6204-4565-8A8E-ED88059B0A0F}"/>
                </a:ext>
              </a:extLst>
            </p:cNvPr>
            <p:cNvSpPr/>
            <p:nvPr/>
          </p:nvSpPr>
          <p:spPr bwMode="auto">
            <a:xfrm>
              <a:off x="1579080" y="4659670"/>
              <a:ext cx="1878495" cy="15760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……</a:t>
              </a:r>
            </a:p>
          </p:txBody>
        </p:sp>
      </p:grpSp>
      <p:sp>
        <p:nvSpPr>
          <p:cNvPr id="19" name="iś1ïďé">
            <a:extLst>
              <a:ext uri="{FF2B5EF4-FFF2-40B4-BE49-F238E27FC236}">
                <a16:creationId xmlns:a16="http://schemas.microsoft.com/office/drawing/2014/main" id="{ACC38AA8-27AF-4BC1-9331-FFD407B934C7}"/>
              </a:ext>
            </a:extLst>
          </p:cNvPr>
          <p:cNvSpPr/>
          <p:nvPr/>
        </p:nvSpPr>
        <p:spPr bwMode="auto">
          <a:xfrm>
            <a:off x="6655202" y="1984570"/>
            <a:ext cx="1231094" cy="1231094"/>
          </a:xfrm>
          <a:custGeom>
            <a:avLst/>
            <a:gdLst>
              <a:gd name="T0" fmla="*/ 7569 w 16599"/>
              <a:gd name="T1" fmla="*/ 403 h 16599"/>
              <a:gd name="T2" fmla="*/ 9030 w 16599"/>
              <a:gd name="T3" fmla="*/ 403 h 16599"/>
              <a:gd name="T4" fmla="*/ 16195 w 16599"/>
              <a:gd name="T5" fmla="*/ 7569 h 16599"/>
              <a:gd name="T6" fmla="*/ 16195 w 16599"/>
              <a:gd name="T7" fmla="*/ 9030 h 16599"/>
              <a:gd name="T8" fmla="*/ 9030 w 16599"/>
              <a:gd name="T9" fmla="*/ 16195 h 16599"/>
              <a:gd name="T10" fmla="*/ 7569 w 16599"/>
              <a:gd name="T11" fmla="*/ 16195 h 16599"/>
              <a:gd name="T12" fmla="*/ 403 w 16599"/>
              <a:gd name="T13" fmla="*/ 9030 h 16599"/>
              <a:gd name="T14" fmla="*/ 403 w 16599"/>
              <a:gd name="T15" fmla="*/ 7569 h 16599"/>
              <a:gd name="T16" fmla="*/ 7569 w 16599"/>
              <a:gd name="T17" fmla="*/ 403 h 16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599" h="16599">
                <a:moveTo>
                  <a:pt x="7569" y="403"/>
                </a:moveTo>
                <a:cubicBezTo>
                  <a:pt x="7972" y="0"/>
                  <a:pt x="8627" y="0"/>
                  <a:pt x="9030" y="403"/>
                </a:cubicBezTo>
                <a:lnTo>
                  <a:pt x="16195" y="7569"/>
                </a:lnTo>
                <a:cubicBezTo>
                  <a:pt x="16599" y="7972"/>
                  <a:pt x="16599" y="8627"/>
                  <a:pt x="16195" y="9030"/>
                </a:cubicBezTo>
                <a:lnTo>
                  <a:pt x="9030" y="16195"/>
                </a:lnTo>
                <a:cubicBezTo>
                  <a:pt x="8627" y="16599"/>
                  <a:pt x="7972" y="16599"/>
                  <a:pt x="7569" y="16195"/>
                </a:cubicBezTo>
                <a:lnTo>
                  <a:pt x="403" y="9030"/>
                </a:lnTo>
                <a:cubicBezTo>
                  <a:pt x="0" y="8627"/>
                  <a:pt x="0" y="7972"/>
                  <a:pt x="403" y="7569"/>
                </a:cubicBezTo>
                <a:lnTo>
                  <a:pt x="7569" y="403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</a:rPr>
              <a:t>03</a:t>
            </a:r>
            <a:endParaRPr lang="zh-CN" altLang="en-US" sz="2800" dirty="0">
              <a:solidFill>
                <a:schemeClr val="bg1"/>
              </a:solidFill>
            </a:endParaRPr>
          </a:p>
        </p:txBody>
      </p:sp>
      <p:grpSp>
        <p:nvGrpSpPr>
          <p:cNvPr id="20" name="iš1iḍê">
            <a:extLst>
              <a:ext uri="{FF2B5EF4-FFF2-40B4-BE49-F238E27FC236}">
                <a16:creationId xmlns:a16="http://schemas.microsoft.com/office/drawing/2014/main" id="{C4809BDF-9706-49AC-9135-73DAE3485141}"/>
              </a:ext>
            </a:extLst>
          </p:cNvPr>
          <p:cNvGrpSpPr/>
          <p:nvPr/>
        </p:nvGrpSpPr>
        <p:grpSpPr>
          <a:xfrm>
            <a:off x="6331502" y="3501458"/>
            <a:ext cx="1878495" cy="2095185"/>
            <a:chOff x="1579080" y="4140515"/>
            <a:chExt cx="1878495" cy="2095185"/>
          </a:xfrm>
        </p:grpSpPr>
        <p:sp>
          <p:nvSpPr>
            <p:cNvPr id="21" name="isḷíḑé">
              <a:extLst>
                <a:ext uri="{FF2B5EF4-FFF2-40B4-BE49-F238E27FC236}">
                  <a16:creationId xmlns:a16="http://schemas.microsoft.com/office/drawing/2014/main" id="{D886BAC6-72C9-43EF-BCCC-FF06CA3FC415}"/>
                </a:ext>
              </a:extLst>
            </p:cNvPr>
            <p:cNvSpPr txBox="1"/>
            <p:nvPr/>
          </p:nvSpPr>
          <p:spPr>
            <a:xfrm>
              <a:off x="1579080" y="4140515"/>
              <a:ext cx="1878495" cy="5191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dirty="0">
                  <a:solidFill>
                    <a:schemeClr val="bg1"/>
                  </a:solidFill>
                </a:rPr>
                <a:t>Text</a:t>
              </a:r>
              <a:endParaRPr lang="id-ID" sz="2000" dirty="0">
                <a:solidFill>
                  <a:schemeClr val="bg1"/>
                </a:solidFill>
              </a:endParaRPr>
            </a:p>
          </p:txBody>
        </p:sp>
        <p:sp>
          <p:nvSpPr>
            <p:cNvPr id="22" name="íṥ1íďe">
              <a:extLst>
                <a:ext uri="{FF2B5EF4-FFF2-40B4-BE49-F238E27FC236}">
                  <a16:creationId xmlns:a16="http://schemas.microsoft.com/office/drawing/2014/main" id="{B6907771-7B7D-45FD-956D-E98C4FAAF8D1}"/>
                </a:ext>
              </a:extLst>
            </p:cNvPr>
            <p:cNvSpPr/>
            <p:nvPr/>
          </p:nvSpPr>
          <p:spPr bwMode="auto">
            <a:xfrm>
              <a:off x="1579080" y="4659670"/>
              <a:ext cx="1878495" cy="15760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……</a:t>
              </a:r>
            </a:p>
          </p:txBody>
        </p:sp>
      </p:grpSp>
      <p:sp>
        <p:nvSpPr>
          <p:cNvPr id="23" name="ï$1ídè">
            <a:extLst>
              <a:ext uri="{FF2B5EF4-FFF2-40B4-BE49-F238E27FC236}">
                <a16:creationId xmlns:a16="http://schemas.microsoft.com/office/drawing/2014/main" id="{3AD77D91-941E-4AE8-80AB-5EAF5F3A474F}"/>
              </a:ext>
            </a:extLst>
          </p:cNvPr>
          <p:cNvSpPr/>
          <p:nvPr/>
        </p:nvSpPr>
        <p:spPr bwMode="auto">
          <a:xfrm>
            <a:off x="9017403" y="1984570"/>
            <a:ext cx="1231094" cy="1231094"/>
          </a:xfrm>
          <a:custGeom>
            <a:avLst/>
            <a:gdLst>
              <a:gd name="T0" fmla="*/ 7569 w 16599"/>
              <a:gd name="T1" fmla="*/ 403 h 16599"/>
              <a:gd name="T2" fmla="*/ 9030 w 16599"/>
              <a:gd name="T3" fmla="*/ 403 h 16599"/>
              <a:gd name="T4" fmla="*/ 16195 w 16599"/>
              <a:gd name="T5" fmla="*/ 7569 h 16599"/>
              <a:gd name="T6" fmla="*/ 16195 w 16599"/>
              <a:gd name="T7" fmla="*/ 9030 h 16599"/>
              <a:gd name="T8" fmla="*/ 9030 w 16599"/>
              <a:gd name="T9" fmla="*/ 16195 h 16599"/>
              <a:gd name="T10" fmla="*/ 7569 w 16599"/>
              <a:gd name="T11" fmla="*/ 16195 h 16599"/>
              <a:gd name="T12" fmla="*/ 403 w 16599"/>
              <a:gd name="T13" fmla="*/ 9030 h 16599"/>
              <a:gd name="T14" fmla="*/ 403 w 16599"/>
              <a:gd name="T15" fmla="*/ 7569 h 16599"/>
              <a:gd name="T16" fmla="*/ 7569 w 16599"/>
              <a:gd name="T17" fmla="*/ 403 h 16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599" h="16599">
                <a:moveTo>
                  <a:pt x="7569" y="403"/>
                </a:moveTo>
                <a:cubicBezTo>
                  <a:pt x="7972" y="0"/>
                  <a:pt x="8627" y="0"/>
                  <a:pt x="9030" y="403"/>
                </a:cubicBezTo>
                <a:lnTo>
                  <a:pt x="16195" y="7569"/>
                </a:lnTo>
                <a:cubicBezTo>
                  <a:pt x="16599" y="7972"/>
                  <a:pt x="16599" y="8627"/>
                  <a:pt x="16195" y="9030"/>
                </a:cubicBezTo>
                <a:lnTo>
                  <a:pt x="9030" y="16195"/>
                </a:lnTo>
                <a:cubicBezTo>
                  <a:pt x="8627" y="16599"/>
                  <a:pt x="7972" y="16599"/>
                  <a:pt x="7569" y="16195"/>
                </a:cubicBezTo>
                <a:lnTo>
                  <a:pt x="403" y="9030"/>
                </a:lnTo>
                <a:cubicBezTo>
                  <a:pt x="0" y="8627"/>
                  <a:pt x="0" y="7972"/>
                  <a:pt x="403" y="7569"/>
                </a:cubicBezTo>
                <a:lnTo>
                  <a:pt x="7569" y="403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2800" dirty="0">
                <a:solidFill>
                  <a:schemeClr val="bg1"/>
                </a:solidFill>
              </a:rPr>
              <a:t>04</a:t>
            </a:r>
            <a:endParaRPr lang="zh-CN" altLang="en-US" sz="2800" dirty="0">
              <a:solidFill>
                <a:schemeClr val="bg1"/>
              </a:solidFill>
            </a:endParaRPr>
          </a:p>
        </p:txBody>
      </p:sp>
      <p:grpSp>
        <p:nvGrpSpPr>
          <p:cNvPr id="24" name="íṣliḍé">
            <a:extLst>
              <a:ext uri="{FF2B5EF4-FFF2-40B4-BE49-F238E27FC236}">
                <a16:creationId xmlns:a16="http://schemas.microsoft.com/office/drawing/2014/main" id="{792C3CF8-9183-44B7-A122-DBCF1051E2FF}"/>
              </a:ext>
            </a:extLst>
          </p:cNvPr>
          <p:cNvGrpSpPr/>
          <p:nvPr/>
        </p:nvGrpSpPr>
        <p:grpSpPr>
          <a:xfrm>
            <a:off x="8693703" y="3501458"/>
            <a:ext cx="1878495" cy="2095185"/>
            <a:chOff x="1579080" y="4140515"/>
            <a:chExt cx="1878495" cy="2095185"/>
          </a:xfrm>
        </p:grpSpPr>
        <p:sp>
          <p:nvSpPr>
            <p:cNvPr id="25" name="iṡ1îḓe">
              <a:extLst>
                <a:ext uri="{FF2B5EF4-FFF2-40B4-BE49-F238E27FC236}">
                  <a16:creationId xmlns:a16="http://schemas.microsoft.com/office/drawing/2014/main" id="{A1B6243B-2C4E-4E83-A9DE-AA79D5CFE532}"/>
                </a:ext>
              </a:extLst>
            </p:cNvPr>
            <p:cNvSpPr txBox="1"/>
            <p:nvPr/>
          </p:nvSpPr>
          <p:spPr>
            <a:xfrm>
              <a:off x="1579080" y="4140515"/>
              <a:ext cx="1878495" cy="5191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dirty="0">
                  <a:solidFill>
                    <a:schemeClr val="bg1"/>
                  </a:solidFill>
                </a:rPr>
                <a:t>Text</a:t>
              </a:r>
              <a:endParaRPr lang="id-ID" sz="2000" dirty="0">
                <a:solidFill>
                  <a:schemeClr val="bg1"/>
                </a:solidFill>
              </a:endParaRPr>
            </a:p>
          </p:txBody>
        </p:sp>
        <p:sp>
          <p:nvSpPr>
            <p:cNvPr id="26" name="iṣliḋè">
              <a:extLst>
                <a:ext uri="{FF2B5EF4-FFF2-40B4-BE49-F238E27FC236}">
                  <a16:creationId xmlns:a16="http://schemas.microsoft.com/office/drawing/2014/main" id="{823F85C7-8E2C-470E-851E-BA809DD95B18}"/>
                </a:ext>
              </a:extLst>
            </p:cNvPr>
            <p:cNvSpPr/>
            <p:nvPr/>
          </p:nvSpPr>
          <p:spPr bwMode="auto">
            <a:xfrm>
              <a:off x="1579080" y="4659670"/>
              <a:ext cx="1878495" cy="15760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</a:pPr>
              <a:endParaRPr lang="en-US" altLang="zh-CN" sz="1100" dirty="0">
                <a:solidFill>
                  <a:schemeClr val="bg1"/>
                </a:solidFill>
              </a:endParaRP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bg1"/>
                  </a:solidFill>
                </a:rPr>
                <a:t>……</a:t>
              </a:r>
            </a:p>
          </p:txBody>
        </p:sp>
      </p:grpSp>
      <p:cxnSp>
        <p:nvCxnSpPr>
          <p:cNvPr id="27" name="ï$ľíḍê">
            <a:extLst>
              <a:ext uri="{FF2B5EF4-FFF2-40B4-BE49-F238E27FC236}">
                <a16:creationId xmlns:a16="http://schemas.microsoft.com/office/drawing/2014/main" id="{26C8D3FD-0834-4005-B789-8F5728A2BAC8}"/>
              </a:ext>
            </a:extLst>
          </p:cNvPr>
          <p:cNvCxnSpPr/>
          <p:nvPr/>
        </p:nvCxnSpPr>
        <p:spPr>
          <a:xfrm>
            <a:off x="3295449" y="2600117"/>
            <a:ext cx="864000" cy="0"/>
          </a:xfrm>
          <a:prstGeom prst="straightConnector1">
            <a:avLst/>
          </a:prstGeom>
          <a:ln w="3175" cap="rnd">
            <a:solidFill>
              <a:schemeClr val="bg1">
                <a:lumMod val="85000"/>
              </a:schemeClr>
            </a:solidFill>
            <a:prstDash val="dash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ïŝľidé">
            <a:extLst>
              <a:ext uri="{FF2B5EF4-FFF2-40B4-BE49-F238E27FC236}">
                <a16:creationId xmlns:a16="http://schemas.microsoft.com/office/drawing/2014/main" id="{401A245D-D43A-4453-BE15-5F0374615E53}"/>
              </a:ext>
            </a:extLst>
          </p:cNvPr>
          <p:cNvCxnSpPr/>
          <p:nvPr/>
        </p:nvCxnSpPr>
        <p:spPr>
          <a:xfrm>
            <a:off x="5657649" y="2600117"/>
            <a:ext cx="864000" cy="0"/>
          </a:xfrm>
          <a:prstGeom prst="straightConnector1">
            <a:avLst/>
          </a:prstGeom>
          <a:ln w="3175" cap="rnd">
            <a:solidFill>
              <a:schemeClr val="bg1">
                <a:lumMod val="85000"/>
              </a:schemeClr>
            </a:solidFill>
            <a:prstDash val="dash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íšḷîďé">
            <a:extLst>
              <a:ext uri="{FF2B5EF4-FFF2-40B4-BE49-F238E27FC236}">
                <a16:creationId xmlns:a16="http://schemas.microsoft.com/office/drawing/2014/main" id="{935F4FD5-BBA4-4C48-A905-00F7F6C34213}"/>
              </a:ext>
            </a:extLst>
          </p:cNvPr>
          <p:cNvCxnSpPr/>
          <p:nvPr/>
        </p:nvCxnSpPr>
        <p:spPr>
          <a:xfrm>
            <a:off x="8019849" y="2600117"/>
            <a:ext cx="864000" cy="0"/>
          </a:xfrm>
          <a:prstGeom prst="straightConnector1">
            <a:avLst/>
          </a:prstGeom>
          <a:ln w="3175" cap="rnd">
            <a:solidFill>
              <a:schemeClr val="bg1">
                <a:lumMod val="85000"/>
              </a:schemeClr>
            </a:solidFill>
            <a:prstDash val="dash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îṣ1iḓé">
            <a:extLst>
              <a:ext uri="{FF2B5EF4-FFF2-40B4-BE49-F238E27FC236}">
                <a16:creationId xmlns:a16="http://schemas.microsoft.com/office/drawing/2014/main" id="{2861E21C-5C9E-45A4-A863-5C6D8978857A}"/>
              </a:ext>
            </a:extLst>
          </p:cNvPr>
          <p:cNvSpPr txBox="1">
            <a:spLocks/>
          </p:cNvSpPr>
          <p:nvPr/>
        </p:nvSpPr>
        <p:spPr>
          <a:xfrm>
            <a:off x="669925" y="6240464"/>
            <a:ext cx="1699649" cy="343464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900">
                <a:solidFill>
                  <a:schemeClr val="bg1">
                    <a:lumMod val="7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islide-powerpoint.com</a:t>
            </a:r>
            <a:r>
              <a:rPr lang="en-US" altLang="zh-CN" sz="900">
                <a:solidFill>
                  <a:schemeClr val="bg1">
                    <a:lumMod val="75000"/>
                  </a:schemeClr>
                </a:solidFill>
              </a:rPr>
              <a:t> </a:t>
            </a:r>
            <a:endParaRPr lang="zh-CN" altLang="en-US" sz="9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şḷi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ṧḷïḋe"/>
          <p:cNvSpPr>
            <a:spLocks noGrp="1"/>
          </p:cNvSpPr>
          <p:nvPr>
            <p:ph type="title"/>
          </p:nvPr>
        </p:nvSpPr>
        <p:spPr>
          <a:xfrm>
            <a:off x="3807529" y="2803979"/>
            <a:ext cx="5419185" cy="895350"/>
          </a:xfrm>
        </p:spPr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</a:rPr>
              <a:t>Section Header Here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îṧ1îḑê"/>
          <p:cNvSpPr>
            <a:spLocks noGrp="1"/>
          </p:cNvSpPr>
          <p:nvPr>
            <p:ph type="body" idx="1"/>
          </p:nvPr>
        </p:nvSpPr>
        <p:spPr>
          <a:xfrm>
            <a:off x="3808645" y="3699329"/>
            <a:ext cx="5419185" cy="1015623"/>
          </a:xfrm>
        </p:spPr>
        <p:txBody>
          <a:bodyPr/>
          <a:lstStyle/>
          <a:p>
            <a:pPr lvl="0"/>
            <a:r>
              <a:rPr lang="en-US" altLang="zh-CN" dirty="0">
                <a:solidFill>
                  <a:schemeClr val="accent1"/>
                </a:solidFill>
              </a:rPr>
              <a:t>Supporting text here.</a:t>
            </a:r>
          </a:p>
          <a:p>
            <a:pPr lvl="0"/>
            <a:r>
              <a:rPr lang="en-US" altLang="zh-CN" dirty="0">
                <a:solidFill>
                  <a:schemeClr val="accent1"/>
                </a:solidFill>
              </a:rPr>
              <a:t>When you copy &amp; paste, choose "keep text only" option.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9" name="ïS1íḍé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941770" y="27431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DF525F-19BA-4529-8683-144859B3D7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473" y="6331662"/>
            <a:ext cx="1835055" cy="274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Slí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íṥḷîḑè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Use "Title Only" Layout</a:t>
            </a:r>
            <a:endParaRPr lang="zh-CN" altLang="en-US"/>
          </a:p>
        </p:txBody>
      </p:sp>
      <p:sp>
        <p:nvSpPr>
          <p:cNvPr id="3" name="îṣ1iḓé"/>
          <p:cNvSpPr>
            <a:spLocks noGrp="1"/>
          </p:cNvSpPr>
          <p:nvPr>
            <p:ph type="ftr" sz="quarter" idx="11"/>
          </p:nvPr>
        </p:nvSpPr>
        <p:spPr>
          <a:xfrm>
            <a:off x="669925" y="6240463"/>
            <a:ext cx="1837302" cy="206381"/>
          </a:xfrm>
        </p:spPr>
        <p:txBody>
          <a:bodyPr/>
          <a:lstStyle/>
          <a:p>
            <a:r>
              <a:rPr lang="en-US" altLang="zh-CN" dirty="0">
                <a:solidFill>
                  <a:schemeClr val="bg1">
                    <a:lumMod val="7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islide-powerpoint.com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 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işļiḍè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445057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lïḓ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Sļiďe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47" imgH="348" progId="TCLayout.ActiveDocument.1">
                  <p:embed/>
                </p:oleObj>
              </mc:Choice>
              <mc:Fallback>
                <p:oleObj name="think-cell Slide" r:id="rId2" imgW="347" imgH="348" progId="TCLayout.ActiveDocument.1">
                  <p:embed/>
                  <p:pic>
                    <p:nvPicPr>
                      <p:cNvPr id="3" name="ïsḷïḍ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$1îďê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ïŝlíḍè"/>
          <p:cNvSpPr>
            <a:spLocks noGrp="1"/>
          </p:cNvSpPr>
          <p:nvPr>
            <p:ph type="ctrTitle"/>
          </p:nvPr>
        </p:nvSpPr>
        <p:spPr>
          <a:xfrm>
            <a:off x="1043214" y="608016"/>
            <a:ext cx="10845798" cy="1621509"/>
          </a:xfrm>
        </p:spPr>
        <p:txBody>
          <a:bodyPr>
            <a:normAutofit/>
          </a:bodyPr>
          <a:lstStyle/>
          <a:p>
            <a:r>
              <a:rPr lang="en-US" altLang="zh-CN" sz="4800" dirty="0"/>
              <a:t>Thanks!</a:t>
            </a:r>
            <a:endParaRPr lang="zh-CN" altLang="en-US" sz="4800" dirty="0"/>
          </a:p>
        </p:txBody>
      </p:sp>
      <p:sp>
        <p:nvSpPr>
          <p:cNvPr id="7" name="işļïḓe"/>
          <p:cNvSpPr>
            <a:spLocks noGrp="1"/>
          </p:cNvSpPr>
          <p:nvPr>
            <p:ph type="body" sz="quarter" idx="18"/>
          </p:nvPr>
        </p:nvSpPr>
        <p:spPr>
          <a:xfrm>
            <a:off x="4430485" y="4628476"/>
            <a:ext cx="2266042" cy="310871"/>
          </a:xfrm>
        </p:spPr>
        <p:txBody>
          <a:bodyPr>
            <a:normAutofit/>
          </a:bodyPr>
          <a:lstStyle/>
          <a:p>
            <a:pPr algn="r"/>
            <a:r>
              <a:rPr lang="en-US" altLang="zh-CN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lide-PowerPoint.com</a:t>
            </a:r>
            <a:r>
              <a:rPr lang="en-US" altLang="zh-CN" dirty="0"/>
              <a:t> </a:t>
            </a:r>
            <a:endParaRPr lang="en-US" altLang="en-US" dirty="0"/>
          </a:p>
        </p:txBody>
      </p:sp>
      <p:sp>
        <p:nvSpPr>
          <p:cNvPr id="6" name="îṥḷïďé"/>
          <p:cNvSpPr>
            <a:spLocks noGrp="1"/>
          </p:cNvSpPr>
          <p:nvPr>
            <p:ph type="body" sz="quarter" idx="10"/>
          </p:nvPr>
        </p:nvSpPr>
        <p:spPr>
          <a:xfrm>
            <a:off x="4430487" y="4332205"/>
            <a:ext cx="2266042" cy="296271"/>
          </a:xfrm>
        </p:spPr>
        <p:txBody>
          <a:bodyPr/>
          <a:lstStyle/>
          <a:p>
            <a:pPr algn="r"/>
            <a:r>
              <a:rPr lang="en-US" altLang="zh-CN" dirty="0"/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组合 15"/>
          <p:cNvGrpSpPr/>
          <p:nvPr/>
        </p:nvGrpSpPr>
        <p:grpSpPr>
          <a:xfrm>
            <a:off x="1022814" y="2128462"/>
            <a:ext cx="4460537" cy="691252"/>
            <a:chOff x="1101012" y="2911151"/>
            <a:chExt cx="9573211" cy="1483567"/>
          </a:xfrm>
        </p:grpSpPr>
        <p:sp>
          <p:nvSpPr>
            <p:cNvPr id="2" name="椭圆 1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7" name="椭圆 6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8" name="椭圆 7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9" name="椭圆 8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0" name="椭圆 9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1" name="椭圆 10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2" name="椭圆 11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3" name="椭圆 12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4" name="椭圆 13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sp>
          <p:nvSpPr>
            <p:cNvPr id="15" name="椭圆 14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400"/>
            </a:p>
          </p:txBody>
        </p:sp>
        <p:cxnSp>
          <p:nvCxnSpPr>
            <p:cNvPr id="4" name="直接连接符 3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文本框 17"/>
          <p:cNvSpPr txBox="1"/>
          <p:nvPr/>
        </p:nvSpPr>
        <p:spPr>
          <a:xfrm>
            <a:off x="660400" y="1512849"/>
            <a:ext cx="585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THEME COLORS</a:t>
            </a:r>
            <a:endParaRPr lang="zh-CN" altLang="en-US" sz="1200" dirty="0"/>
          </a:p>
        </p:txBody>
      </p:sp>
      <p:cxnSp>
        <p:nvCxnSpPr>
          <p:cNvPr id="20" name="直接连接符 19"/>
          <p:cNvCxnSpPr/>
          <p:nvPr/>
        </p:nvCxnSpPr>
        <p:spPr>
          <a:xfrm>
            <a:off x="669931" y="1843079"/>
            <a:ext cx="5852175" cy="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669929" y="2689501"/>
            <a:ext cx="21614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800"/>
            </a:lvl1pPr>
          </a:lstStyle>
          <a:p>
            <a:r>
              <a:rPr lang="en-US" altLang="zh-CN" dirty="0"/>
              <a:t>Text/Background</a:t>
            </a:r>
            <a:endParaRPr lang="zh-CN" altLang="en-US" dirty="0"/>
          </a:p>
        </p:txBody>
      </p:sp>
      <p:sp>
        <p:nvSpPr>
          <p:cNvPr id="22" name="文本框 21"/>
          <p:cNvSpPr txBox="1"/>
          <p:nvPr/>
        </p:nvSpPr>
        <p:spPr>
          <a:xfrm>
            <a:off x="2841871" y="2689501"/>
            <a:ext cx="28766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800" dirty="0"/>
              <a:t>Fill Colors</a:t>
            </a:r>
            <a:endParaRPr lang="zh-CN" altLang="en-US" sz="800" dirty="0"/>
          </a:p>
        </p:txBody>
      </p:sp>
      <p:sp>
        <p:nvSpPr>
          <p:cNvPr id="25" name="文本框 24"/>
          <p:cNvSpPr txBox="1"/>
          <p:nvPr/>
        </p:nvSpPr>
        <p:spPr>
          <a:xfrm>
            <a:off x="660400" y="3943133"/>
            <a:ext cx="5852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THEME FONTS</a:t>
            </a:r>
            <a:endParaRPr lang="zh-CN" altLang="en-US" sz="1200" dirty="0"/>
          </a:p>
        </p:txBody>
      </p:sp>
      <p:cxnSp>
        <p:nvCxnSpPr>
          <p:cNvPr id="26" name="直接连接符 25"/>
          <p:cNvCxnSpPr/>
          <p:nvPr/>
        </p:nvCxnSpPr>
        <p:spPr>
          <a:xfrm>
            <a:off x="669931" y="4273363"/>
            <a:ext cx="5852175" cy="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660400" y="4407104"/>
            <a:ext cx="50485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East Asian Font: Microsoft </a:t>
            </a:r>
            <a:r>
              <a:rPr lang="en-US" altLang="zh-CN" sz="800" dirty="0" err="1"/>
              <a:t>YaHei</a:t>
            </a:r>
            <a:endParaRPr lang="en-US" altLang="zh-CN" sz="800" dirty="0"/>
          </a:p>
          <a:p>
            <a:endParaRPr lang="en-US" altLang="zh-CN" sz="800" dirty="0"/>
          </a:p>
          <a:p>
            <a:r>
              <a:rPr lang="en-US" altLang="zh-CN" sz="800" dirty="0"/>
              <a:t>Arial  Latin Font: Arial</a:t>
            </a:r>
            <a:endParaRPr lang="zh-CN" altLang="en-US" sz="800" dirty="0"/>
          </a:p>
        </p:txBody>
      </p:sp>
      <p:sp>
        <p:nvSpPr>
          <p:cNvPr id="32" name="文本框 31"/>
          <p:cNvSpPr txBox="1"/>
          <p:nvPr/>
        </p:nvSpPr>
        <p:spPr>
          <a:xfrm>
            <a:off x="6959600" y="1512850"/>
            <a:ext cx="4559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/>
              <a:t>DESIGN GUIDES (Office 2016 and later)</a:t>
            </a:r>
            <a:endParaRPr lang="zh-CN" altLang="en-US" sz="1200" dirty="0"/>
          </a:p>
        </p:txBody>
      </p:sp>
      <p:cxnSp>
        <p:nvCxnSpPr>
          <p:cNvPr id="33" name="直接连接符 32"/>
          <p:cNvCxnSpPr/>
          <p:nvPr/>
        </p:nvCxnSpPr>
        <p:spPr>
          <a:xfrm>
            <a:off x="6959600" y="1843079"/>
            <a:ext cx="4559300" cy="0"/>
          </a:xfrm>
          <a:prstGeom prst="line">
            <a:avLst/>
          </a:prstGeom>
          <a:ln>
            <a:solidFill>
              <a:srgbClr val="BFBF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28681F2F-E8A9-44CF-AC1F-76EC4E7757F0}"/>
              </a:ext>
            </a:extLst>
          </p:cNvPr>
          <p:cNvGrpSpPr/>
          <p:nvPr/>
        </p:nvGrpSpPr>
        <p:grpSpPr>
          <a:xfrm>
            <a:off x="6959600" y="2103062"/>
            <a:ext cx="4559300" cy="2807437"/>
            <a:chOff x="7069136" y="2204131"/>
            <a:chExt cx="4449763" cy="2731768"/>
          </a:xfrm>
        </p:grpSpPr>
        <p:sp>
          <p:nvSpPr>
            <p:cNvPr id="35" name="矩形 34"/>
            <p:cNvSpPr/>
            <p:nvPr/>
          </p:nvSpPr>
          <p:spPr>
            <a:xfrm>
              <a:off x="7069136" y="2240063"/>
              <a:ext cx="4449763" cy="2502992"/>
            </a:xfrm>
            <a:prstGeom prst="rect">
              <a:avLst/>
            </a:prstGeom>
            <a:solidFill>
              <a:srgbClr val="B4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cxnSp>
          <p:nvCxnSpPr>
            <p:cNvPr id="37" name="直接连接符 36"/>
            <p:cNvCxnSpPr/>
            <p:nvPr/>
          </p:nvCxnSpPr>
          <p:spPr>
            <a:xfrm>
              <a:off x="7332272" y="2204131"/>
              <a:ext cx="0" cy="2731768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/>
          </p:nvCxnSpPr>
          <p:spPr>
            <a:xfrm>
              <a:off x="11279121" y="2204131"/>
              <a:ext cx="0" cy="2731768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/>
          </p:nvCxnSpPr>
          <p:spPr>
            <a:xfrm>
              <a:off x="7069136" y="2667250"/>
              <a:ext cx="4449763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连接符 40"/>
            <p:cNvCxnSpPr/>
            <p:nvPr/>
          </p:nvCxnSpPr>
          <p:spPr>
            <a:xfrm>
              <a:off x="7069136" y="2746566"/>
              <a:ext cx="4449763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连接符 41"/>
            <p:cNvCxnSpPr/>
            <p:nvPr/>
          </p:nvCxnSpPr>
          <p:spPr>
            <a:xfrm>
              <a:off x="7069136" y="4443013"/>
              <a:ext cx="4449763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连接符 42"/>
            <p:cNvCxnSpPr/>
            <p:nvPr/>
          </p:nvCxnSpPr>
          <p:spPr>
            <a:xfrm>
              <a:off x="7069136" y="4517658"/>
              <a:ext cx="4449763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直接连接符 45"/>
            <p:cNvCxnSpPr/>
            <p:nvPr/>
          </p:nvCxnSpPr>
          <p:spPr>
            <a:xfrm>
              <a:off x="7332271" y="2741895"/>
              <a:ext cx="3946849" cy="1701118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矩形 46"/>
          <p:cNvSpPr/>
          <p:nvPr/>
        </p:nvSpPr>
        <p:spPr>
          <a:xfrm>
            <a:off x="6959600" y="4822368"/>
            <a:ext cx="45593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/>
              <a:t>Press Alt + F9 to</a:t>
            </a:r>
            <a:r>
              <a:rPr lang="zh-CN" altLang="en-US" sz="800" dirty="0"/>
              <a:t> </a:t>
            </a:r>
            <a:r>
              <a:rPr lang="en-US" altLang="zh-CN" sz="800" dirty="0"/>
              <a:t>show or hide guides</a:t>
            </a:r>
          </a:p>
          <a:p>
            <a:endParaRPr lang="zh-CN" altLang="en-US" sz="800" dirty="0"/>
          </a:p>
        </p:txBody>
      </p:sp>
      <p:sp>
        <p:nvSpPr>
          <p:cNvPr id="39" name="文本框 38"/>
          <p:cNvSpPr txBox="1"/>
          <p:nvPr/>
        </p:nvSpPr>
        <p:spPr>
          <a:xfrm>
            <a:off x="660400" y="3104927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sz="800" dirty="0">
                <a:solidFill>
                  <a:srgbClr val="2F2F2F"/>
                </a:solidFill>
              </a:rPr>
              <a:t>More color schemes are optional in iSlide Color Library. Just click to apply</a:t>
            </a:r>
            <a:endParaRPr lang="zh-CN" altLang="en-US" sz="800" dirty="0">
              <a:solidFill>
                <a:srgbClr val="2F2F2F"/>
              </a:solidFill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660400" y="5304245"/>
            <a:ext cx="585217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sz="800" dirty="0">
                <a:solidFill>
                  <a:srgbClr val="2F2F2F"/>
                </a:solidFill>
              </a:rPr>
              <a:t>To change theme fonts, you can click Design &gt; Variants &gt; Fonts, or use “Uniform Fonts” feature of iSlide</a:t>
            </a:r>
            <a:endParaRPr lang="zh-CN" altLang="en-US" sz="800" dirty="0">
              <a:solidFill>
                <a:srgbClr val="2F2F2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21214C4-3D8B-473D-9D9C-F2F23FBFB600}"/>
              </a:ext>
            </a:extLst>
          </p:cNvPr>
          <p:cNvSpPr/>
          <p:nvPr/>
        </p:nvSpPr>
        <p:spPr>
          <a:xfrm>
            <a:off x="6959599" y="5304244"/>
            <a:ext cx="4559300" cy="400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altLang="zh-CN" sz="800" dirty="0">
                <a:solidFill>
                  <a:srgbClr val="2F2F2F"/>
                </a:solidFill>
              </a:rPr>
              <a:t>Use iSlide “Uniform Guides” feature to edit and apply more preset guides</a:t>
            </a:r>
          </a:p>
        </p:txBody>
      </p:sp>
      <p:sp>
        <p:nvSpPr>
          <p:cNvPr id="48" name="标题 1">
            <a:extLst>
              <a:ext uri="{FF2B5EF4-FFF2-40B4-BE49-F238E27FC236}">
                <a16:creationId xmlns:a16="http://schemas.microsoft.com/office/drawing/2014/main" id="{A063C456-63D9-49D6-A680-AB5AA5CB4C15}"/>
              </a:ext>
            </a:extLst>
          </p:cNvPr>
          <p:cNvSpPr txBox="1">
            <a:spLocks/>
          </p:cNvSpPr>
          <p:nvPr/>
        </p:nvSpPr>
        <p:spPr>
          <a:xfrm>
            <a:off x="660400" y="-1"/>
            <a:ext cx="10858500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09"/>
            <a:r>
              <a:rPr lang="en-US" altLang="zh-CN" sz="2800" b="1" dirty="0"/>
              <a:t>Design Criteria</a:t>
            </a:r>
            <a:endParaRPr lang="zh-CN" altLang="en-US" sz="2800" b="1" dirty="0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DB6B50C1-7119-4649-A59E-12A0D311364C}"/>
              </a:ext>
            </a:extLst>
          </p:cNvPr>
          <p:cNvSpPr/>
          <p:nvPr/>
        </p:nvSpPr>
        <p:spPr>
          <a:xfrm>
            <a:off x="8978025" y="128575"/>
            <a:ext cx="2540875" cy="771556"/>
          </a:xfrm>
          <a:prstGeom prst="rect">
            <a:avLst/>
          </a:prstGeom>
          <a:solidFill>
            <a:srgbClr val="F73434"/>
          </a:solidFill>
          <a:ln w="12700">
            <a:noFill/>
            <a:prstDash val="sysDash"/>
          </a:ln>
        </p:spPr>
        <p:txBody>
          <a:bodyPr wrap="square" lIns="91440" tIns="91440" rIns="91440" bIns="91440" rtlCol="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800" b="1" dirty="0">
                <a:solidFill>
                  <a:schemeClr val="bg1"/>
                </a:solidFill>
              </a:rPr>
              <a:t>Note:</a:t>
            </a:r>
          </a:p>
          <a:p>
            <a:pPr>
              <a:lnSpc>
                <a:spcPct val="120000"/>
              </a:lnSpc>
            </a:pPr>
            <a:r>
              <a:rPr lang="en-US" altLang="zh-CN" sz="800" dirty="0">
                <a:solidFill>
                  <a:schemeClr val="bg1"/>
                </a:solidFill>
              </a:rPr>
              <a:t>This slide is an instruction. Please delete this slide before using it for presentation.</a:t>
            </a:r>
          </a:p>
        </p:txBody>
      </p:sp>
      <p:sp>
        <p:nvSpPr>
          <p:cNvPr id="45" name="îṣ1iḓé">
            <a:extLst>
              <a:ext uri="{FF2B5EF4-FFF2-40B4-BE49-F238E27FC236}">
                <a16:creationId xmlns:a16="http://schemas.microsoft.com/office/drawing/2014/main" id="{E163DFE9-8F4D-4561-BF93-C37FFF3D227B}"/>
              </a:ext>
            </a:extLst>
          </p:cNvPr>
          <p:cNvSpPr txBox="1">
            <a:spLocks/>
          </p:cNvSpPr>
          <p:nvPr/>
        </p:nvSpPr>
        <p:spPr>
          <a:xfrm>
            <a:off x="669924" y="6240463"/>
            <a:ext cx="1788141" cy="276999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900">
                <a:solidFill>
                  <a:schemeClr val="bg1">
                    <a:lumMod val="7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islide-powerpoint.com</a:t>
            </a:r>
            <a:r>
              <a:rPr lang="en-US" altLang="zh-CN" sz="900">
                <a:solidFill>
                  <a:schemeClr val="bg1">
                    <a:lumMod val="75000"/>
                  </a:schemeClr>
                </a:solidFill>
              </a:rPr>
              <a:t> </a:t>
            </a:r>
            <a:endParaRPr lang="zh-CN" altLang="en-US" sz="9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778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dd07eeb8-79fa-4d69-b165-8438cbc6271a"/>
</p:tagLst>
</file>

<file path=ppt/theme/theme1.xml><?xml version="1.0" encoding="utf-8"?>
<a:theme xmlns:a="http://schemas.openxmlformats.org/drawingml/2006/main" name="主题5">
  <a:themeElements>
    <a:clrScheme name="紫色啊紫色">
      <a:dk1>
        <a:srgbClr val="000000"/>
      </a:dk1>
      <a:lt1>
        <a:srgbClr val="FFFFFF"/>
      </a:lt1>
      <a:dk2>
        <a:srgbClr val="44546A"/>
      </a:dk2>
      <a:lt2>
        <a:srgbClr val="E6E4E4"/>
      </a:lt2>
      <a:accent1>
        <a:srgbClr val="2D29A1"/>
      </a:accent1>
      <a:accent2>
        <a:srgbClr val="BAADEA"/>
      </a:accent2>
      <a:accent3>
        <a:srgbClr val="4A58DA"/>
      </a:accent3>
      <a:accent4>
        <a:srgbClr val="A4B1FB"/>
      </a:accent4>
      <a:accent5>
        <a:srgbClr val="EF957D"/>
      </a:accent5>
      <a:accent6>
        <a:srgbClr val="1E5986"/>
      </a:accent6>
      <a:hlink>
        <a:srgbClr val="0563C1"/>
      </a:hlink>
      <a:folHlink>
        <a:srgbClr val="954D72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242</Words>
  <PresentationFormat>Widescreen</PresentationFormat>
  <Paragraphs>52</Paragraphs>
  <Slides>6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等线</vt:lpstr>
      <vt:lpstr>Arial</vt:lpstr>
      <vt:lpstr>Calibri</vt:lpstr>
      <vt:lpstr>Impact</vt:lpstr>
      <vt:lpstr>主题5</vt:lpstr>
      <vt:lpstr>think-cell Slide</vt:lpstr>
      <vt:lpstr>CELEBRATE</vt:lpstr>
      <vt:lpstr>PowerPoint Presentation</vt:lpstr>
      <vt:lpstr>Section Header Here</vt:lpstr>
      <vt:lpstr>Use "Title Only" Layout</vt:lpstr>
      <vt:lpstr>Thanks!</vt:lpstr>
      <vt:lpstr>PowerPoint Presentation</vt:lpstr>
    </vt:vector>
  </TitlesOfParts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iSlide</dc:creator>
  <dc:description>https://iSlide-PowerPoint.com</dc:description>
  <cp:lastPrinted>2019-09-02T16:00:00Z</cp:lastPrinted>
  <dcterms:created xsi:type="dcterms:W3CDTF">2019-09-02T16:00:00Z</dcterms:created>
  <dcterms:modified xsi:type="dcterms:W3CDTF">2021-10-09T09:14:01Z</dcterms:modified>
  <cp:category>PowerPoint Templates; Free iSlide PowerPoint 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